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wmf" ContentType="image/x-wmf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4.xml" ContentType="application/vnd.openxmlformats-officedocument.theme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5.xml" ContentType="application/vnd.openxmlformats-officedocument.theme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autoCompressPictures="0">
  <p:sldMasterIdLst>
    <p:sldMasterId id="2147483648" r:id="rId4"/>
    <p:sldMasterId id="2147483711" r:id="rId5"/>
    <p:sldMasterId id="2147483722" r:id="rId6"/>
    <p:sldMasterId id="2147483746" r:id="rId7"/>
    <p:sldMasterId id="2147483755" r:id="rId8"/>
    <p:sldMasterId id="2147483785" r:id="rId9"/>
  </p:sldMasterIdLst>
  <p:notesMasterIdLst>
    <p:notesMasterId r:id="rId34"/>
  </p:notesMasterIdLst>
  <p:handoutMasterIdLst>
    <p:handoutMasterId r:id="rId35"/>
  </p:handoutMasterIdLst>
  <p:sldIdLst>
    <p:sldId id="1269" r:id="rId10"/>
    <p:sldId id="1260" r:id="rId11"/>
    <p:sldId id="1271" r:id="rId12"/>
    <p:sldId id="1272" r:id="rId13"/>
    <p:sldId id="1275" r:id="rId14"/>
    <p:sldId id="1277" r:id="rId15"/>
    <p:sldId id="1279" r:id="rId16"/>
    <p:sldId id="1280" r:id="rId17"/>
    <p:sldId id="1281" r:id="rId18"/>
    <p:sldId id="1282" r:id="rId19"/>
    <p:sldId id="1259" r:id="rId20"/>
    <p:sldId id="1295" r:id="rId21"/>
    <p:sldId id="1294" r:id="rId22"/>
    <p:sldId id="1286" r:id="rId23"/>
    <p:sldId id="1292" r:id="rId24"/>
    <p:sldId id="1293" r:id="rId25"/>
    <p:sldId id="1291" r:id="rId26"/>
    <p:sldId id="1296" r:id="rId27"/>
    <p:sldId id="1297" r:id="rId28"/>
    <p:sldId id="1298" r:id="rId29"/>
    <p:sldId id="1299" r:id="rId30"/>
    <p:sldId id="1285" r:id="rId31"/>
    <p:sldId id="1301" r:id="rId32"/>
    <p:sldId id="1284" r:id="rId33"/>
  </p:sldIdLst>
  <p:sldSz cx="12190413" cy="6858000"/>
  <p:notesSz cx="6858000" cy="9144000"/>
  <p:embeddedFontLst>
    <p:embeddedFont>
      <p:font typeface="Calibri Light" panose="020F0302020204030204" pitchFamily="34" charset="0"/>
      <p:regular r:id="rId36"/>
      <p:italic r:id="rId37"/>
    </p:embeddedFont>
    <p:embeddedFont>
      <p:font typeface="Frutiger LT Com 45 Light" panose="020B0303030504090204" charset="0"/>
      <p:regular r:id="rId38"/>
      <p:bold r:id="rId39"/>
      <p:italic r:id="rId40"/>
      <p:boldItalic r:id="rId41"/>
    </p:embeddedFont>
    <p:embeddedFont>
      <p:font typeface="Frutiger LT Com 55 Roman" panose="020B0503030504090204" charset="0"/>
      <p:regular r:id="rId42"/>
      <p:bold r:id="rId43"/>
      <p:italic r:id="rId44"/>
    </p:embeddedFont>
    <p:embeddedFont>
      <p:font typeface="Wingdings 3" panose="05040102010807070707" pitchFamily="18" charset="2"/>
      <p:regular r:id="rId45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 &amp; Agenda" id="{365B5773-292E-4D3E-BFBE-DF26EB28DF04}">
          <p14:sldIdLst>
            <p14:sldId id="1269"/>
            <p14:sldId id="1260"/>
          </p14:sldIdLst>
        </p14:section>
        <p14:section name="Recap" id="{D52BF801-679F-4F58-993D-6A530F9082F3}">
          <p14:sldIdLst>
            <p14:sldId id="1271"/>
            <p14:sldId id="1272"/>
            <p14:sldId id="1275"/>
            <p14:sldId id="1277"/>
            <p14:sldId id="1279"/>
            <p14:sldId id="1280"/>
            <p14:sldId id="1281"/>
          </p14:sldIdLst>
        </p14:section>
        <p14:section name="Particants Introduction" id="{E3A105B1-78A4-4067-92BD-EFE068CFB866}">
          <p14:sldIdLst>
            <p14:sldId id="1282"/>
          </p14:sldIdLst>
        </p14:section>
        <p14:section name="Organization" id="{B9B981B2-5CD5-42E2-BDB7-0CF9CC793723}">
          <p14:sldIdLst>
            <p14:sldId id="1259"/>
            <p14:sldId id="1295"/>
          </p14:sldIdLst>
        </p14:section>
        <p14:section name="Topics" id="{67653C08-1650-48DA-8C37-3F76581863B9}">
          <p14:sldIdLst>
            <p14:sldId id="1294"/>
            <p14:sldId id="1286"/>
            <p14:sldId id="1292"/>
            <p14:sldId id="1293"/>
            <p14:sldId id="1291"/>
            <p14:sldId id="1296"/>
            <p14:sldId id="1297"/>
            <p14:sldId id="1298"/>
            <p14:sldId id="1299"/>
          </p14:sldIdLst>
        </p14:section>
        <p14:section name="Next Steps" id="{C1AE6DFF-7A62-4C0D-805A-10A12E483709}">
          <p14:sldIdLst>
            <p14:sldId id="1285"/>
            <p14:sldId id="1301"/>
            <p14:sldId id="1284"/>
          </p14:sldIdLst>
        </p14:section>
        <p14:section name="Supervisor: ToDo" id="{DF372827-92DC-4BDA-9A1F-0C40CF5D1D39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3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ara Marlen Meyer" initials="LMM" lastIdx="1" clrIdx="0">
    <p:extLst>
      <p:ext uri="{19B8F6BF-5375-455C-9EA6-DF929625EA0E}">
        <p15:presenceInfo xmlns:p15="http://schemas.microsoft.com/office/powerpoint/2012/main" userId="S::larmeyer@msopb.de::c4477d4a-c2f1-405e-beee-c00724f7bc2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EDBD4"/>
    <a:srgbClr val="1B9D83"/>
    <a:srgbClr val="E2E2E2"/>
    <a:srgbClr val="FFFFFF"/>
    <a:srgbClr val="EAEAEA"/>
    <a:srgbClr val="EEEEEE"/>
    <a:srgbClr val="003A80"/>
    <a:srgbClr val="000000"/>
    <a:srgbClr val="404040"/>
    <a:srgbClr val="7F7F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5F17BB1-58F5-4065-BF88-B10D12BD6566}" v="2" dt="2020-04-22T21:30:27.089"/>
    <p1510:client id="{12139CD2-AB1C-4006-9A98-778AAD00B3FD}" v="3" dt="2020-04-22T14:10:37.241"/>
    <p1510:client id="{352E615E-FB59-44E4-A202-61F5FD4DD9FB}" v="1343" dt="2020-04-21T16:53:21.742"/>
    <p1510:client id="{749B3BDC-D860-4732-AC11-99D2D91E4051}" v="29" dt="2020-04-21T15:50:14.869"/>
    <p1510:client id="{B83EAB8C-E1C4-4A6C-B42B-621D63C6E792}" v="58" dt="2020-04-21T17:04:13.88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Helle Formatvorlage 2 - Akz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>
        <p:guide orient="horz" pos="2160"/>
        <p:guide pos="3839"/>
      </p:guideLst>
    </p:cSldViewPr>
  </p:slide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slide" Target="slides/slide17.xml"/><Relationship Id="rId39" Type="http://schemas.openxmlformats.org/officeDocument/2006/relationships/font" Target="fonts/font4.fntdata"/><Relationship Id="rId21" Type="http://schemas.openxmlformats.org/officeDocument/2006/relationships/slide" Target="slides/slide12.xml"/><Relationship Id="rId34" Type="http://schemas.openxmlformats.org/officeDocument/2006/relationships/notesMaster" Target="notesMasters/notesMaster1.xml"/><Relationship Id="rId42" Type="http://schemas.openxmlformats.org/officeDocument/2006/relationships/font" Target="fonts/font7.fntdata"/><Relationship Id="rId47" Type="http://schemas.openxmlformats.org/officeDocument/2006/relationships/presProps" Target="presProps.xml"/><Relationship Id="rId50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9" Type="http://schemas.openxmlformats.org/officeDocument/2006/relationships/slide" Target="slides/slide20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32" Type="http://schemas.openxmlformats.org/officeDocument/2006/relationships/slide" Target="slides/slide23.xml"/><Relationship Id="rId37" Type="http://schemas.openxmlformats.org/officeDocument/2006/relationships/font" Target="fonts/font2.fntdata"/><Relationship Id="rId40" Type="http://schemas.openxmlformats.org/officeDocument/2006/relationships/font" Target="fonts/font5.fntdata"/><Relationship Id="rId45" Type="http://schemas.openxmlformats.org/officeDocument/2006/relationships/font" Target="fonts/font10.fntdata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slide" Target="slides/slide19.xml"/><Relationship Id="rId36" Type="http://schemas.openxmlformats.org/officeDocument/2006/relationships/font" Target="fonts/font1.fntdata"/><Relationship Id="rId49" Type="http://schemas.openxmlformats.org/officeDocument/2006/relationships/theme" Target="theme/theme1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31" Type="http://schemas.openxmlformats.org/officeDocument/2006/relationships/slide" Target="slides/slide22.xml"/><Relationship Id="rId44" Type="http://schemas.openxmlformats.org/officeDocument/2006/relationships/font" Target="fonts/font9.fntdata"/><Relationship Id="rId52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slide" Target="slides/slide18.xml"/><Relationship Id="rId30" Type="http://schemas.openxmlformats.org/officeDocument/2006/relationships/slide" Target="slides/slide21.xml"/><Relationship Id="rId35" Type="http://schemas.openxmlformats.org/officeDocument/2006/relationships/handoutMaster" Target="handoutMasters/handoutMaster1.xml"/><Relationship Id="rId43" Type="http://schemas.openxmlformats.org/officeDocument/2006/relationships/font" Target="fonts/font8.fntdata"/><Relationship Id="rId48" Type="http://schemas.openxmlformats.org/officeDocument/2006/relationships/viewProps" Target="viewProps.xml"/><Relationship Id="rId8" Type="http://schemas.openxmlformats.org/officeDocument/2006/relationships/slideMaster" Target="slideMasters/slideMaster5.xml"/><Relationship Id="rId51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slide" Target="slides/slide16.xml"/><Relationship Id="rId33" Type="http://schemas.openxmlformats.org/officeDocument/2006/relationships/slide" Target="slides/slide24.xml"/><Relationship Id="rId38" Type="http://schemas.openxmlformats.org/officeDocument/2006/relationships/font" Target="fonts/font3.fntdata"/><Relationship Id="rId46" Type="http://schemas.openxmlformats.org/officeDocument/2006/relationships/commentAuthors" Target="commentAuthors.xml"/><Relationship Id="rId20" Type="http://schemas.openxmlformats.org/officeDocument/2006/relationships/slide" Target="slides/slide11.xml"/><Relationship Id="rId41" Type="http://schemas.openxmlformats.org/officeDocument/2006/relationships/font" Target="fonts/font6.fntdata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handra Prakash ." userId="S::cpcp@mail.uni-paderborn.de::cef7614c-cf64-440d-9bef-090cd461bc0b" providerId="AD" clId="Web-{12139CD2-AB1C-4006-9A98-778AAD00B3FD}"/>
    <pc:docChg chg="modSld">
      <pc:chgData name="Chandra Prakash ." userId="S::cpcp@mail.uni-paderborn.de::cef7614c-cf64-440d-9bef-090cd461bc0b" providerId="AD" clId="Web-{12139CD2-AB1C-4006-9A98-778AAD00B3FD}" dt="2020-04-22T14:10:37.241" v="2" actId="1076"/>
      <pc:docMkLst>
        <pc:docMk/>
      </pc:docMkLst>
      <pc:sldChg chg="modSp">
        <pc:chgData name="Chandra Prakash ." userId="S::cpcp@mail.uni-paderborn.de::cef7614c-cf64-440d-9bef-090cd461bc0b" providerId="AD" clId="Web-{12139CD2-AB1C-4006-9A98-778AAD00B3FD}" dt="2020-04-22T14:10:37.241" v="2" actId="1076"/>
        <pc:sldMkLst>
          <pc:docMk/>
          <pc:sldMk cId="3369696898" sldId="1294"/>
        </pc:sldMkLst>
        <pc:spChg chg="mod">
          <ac:chgData name="Chandra Prakash ." userId="S::cpcp@mail.uni-paderborn.de::cef7614c-cf64-440d-9bef-090cd461bc0b" providerId="AD" clId="Web-{12139CD2-AB1C-4006-9A98-778AAD00B3FD}" dt="2020-04-22T14:10:37.241" v="2" actId="1076"/>
          <ac:spMkLst>
            <pc:docMk/>
            <pc:sldMk cId="3369696898" sldId="1294"/>
            <ac:spMk id="28" creationId="{00000000-0000-0000-0000-000000000000}"/>
          </ac:spMkLst>
        </pc:spChg>
      </pc:sldChg>
    </pc:docChg>
  </pc:docChgLst>
  <pc:docChgLst>
    <pc:chgData name="Kharatyan, Aschot" userId="S::aschot.kharatyan@iem.fraunhofer.de::d0cfb4ff-9302-4b06-b12a-8844c20e23f6" providerId="AD" clId="Web-{352E615E-FB59-44E4-A202-61F5FD4DD9FB}"/>
    <pc:docChg chg="addSld delSld modSld modSection">
      <pc:chgData name="Kharatyan, Aschot" userId="S::aschot.kharatyan@iem.fraunhofer.de::d0cfb4ff-9302-4b06-b12a-8844c20e23f6" providerId="AD" clId="Web-{352E615E-FB59-44E4-A202-61F5FD4DD9FB}" dt="2020-04-21T16:53:21.742" v="1331" actId="20577"/>
      <pc:docMkLst>
        <pc:docMk/>
      </pc:docMkLst>
      <pc:sldChg chg="modSp">
        <pc:chgData name="Kharatyan, Aschot" userId="S::aschot.kharatyan@iem.fraunhofer.de::d0cfb4ff-9302-4b06-b12a-8844c20e23f6" providerId="AD" clId="Web-{352E615E-FB59-44E4-A202-61F5FD4DD9FB}" dt="2020-04-21T16:53:21.742" v="1331" actId="20577"/>
        <pc:sldMkLst>
          <pc:docMk/>
          <pc:sldMk cId="2081624353" sldId="1262"/>
        </pc:sldMkLst>
        <pc:spChg chg="mod">
          <ac:chgData name="Kharatyan, Aschot" userId="S::aschot.kharatyan@iem.fraunhofer.de::d0cfb4ff-9302-4b06-b12a-8844c20e23f6" providerId="AD" clId="Web-{352E615E-FB59-44E4-A202-61F5FD4DD9FB}" dt="2020-04-21T16:53:21.742" v="1331" actId="20577"/>
          <ac:spMkLst>
            <pc:docMk/>
            <pc:sldMk cId="2081624353" sldId="1262"/>
            <ac:spMk id="2" creationId="{00000000-0000-0000-0000-000000000000}"/>
          </ac:spMkLst>
        </pc:spChg>
      </pc:sldChg>
      <pc:sldChg chg="modSp">
        <pc:chgData name="Kharatyan, Aschot" userId="S::aschot.kharatyan@iem.fraunhofer.de::d0cfb4ff-9302-4b06-b12a-8844c20e23f6" providerId="AD" clId="Web-{352E615E-FB59-44E4-A202-61F5FD4DD9FB}" dt="2020-04-21T16:50:26.051" v="1209" actId="20577"/>
        <pc:sldMkLst>
          <pc:docMk/>
          <pc:sldMk cId="1429141313" sldId="1285"/>
        </pc:sldMkLst>
        <pc:spChg chg="mod">
          <ac:chgData name="Kharatyan, Aschot" userId="S::aschot.kharatyan@iem.fraunhofer.de::d0cfb4ff-9302-4b06-b12a-8844c20e23f6" providerId="AD" clId="Web-{352E615E-FB59-44E4-A202-61F5FD4DD9FB}" dt="2020-04-21T16:50:26.051" v="1209" actId="20577"/>
          <ac:spMkLst>
            <pc:docMk/>
            <pc:sldMk cId="1429141313" sldId="1285"/>
            <ac:spMk id="2" creationId="{00000000-0000-0000-0000-000000000000}"/>
          </ac:spMkLst>
        </pc:spChg>
      </pc:sldChg>
      <pc:sldChg chg="modSp">
        <pc:chgData name="Kharatyan, Aschot" userId="S::aschot.kharatyan@iem.fraunhofer.de::d0cfb4ff-9302-4b06-b12a-8844c20e23f6" providerId="AD" clId="Web-{352E615E-FB59-44E4-A202-61F5FD4DD9FB}" dt="2020-04-21T16:22:36.599" v="130" actId="20577"/>
        <pc:sldMkLst>
          <pc:docMk/>
          <pc:sldMk cId="1370085065" sldId="1292"/>
        </pc:sldMkLst>
        <pc:spChg chg="mod">
          <ac:chgData name="Kharatyan, Aschot" userId="S::aschot.kharatyan@iem.fraunhofer.de::d0cfb4ff-9302-4b06-b12a-8844c20e23f6" providerId="AD" clId="Web-{352E615E-FB59-44E4-A202-61F5FD4DD9FB}" dt="2020-04-21T16:22:36.599" v="130" actId="20577"/>
          <ac:spMkLst>
            <pc:docMk/>
            <pc:sldMk cId="1370085065" sldId="1292"/>
            <ac:spMk id="33" creationId="{00000000-0000-0000-0000-000000000000}"/>
          </ac:spMkLst>
        </pc:spChg>
      </pc:sldChg>
      <pc:sldChg chg="delSp modSp">
        <pc:chgData name="Kharatyan, Aschot" userId="S::aschot.kharatyan@iem.fraunhofer.de::d0cfb4ff-9302-4b06-b12a-8844c20e23f6" providerId="AD" clId="Web-{352E615E-FB59-44E4-A202-61F5FD4DD9FB}" dt="2020-04-21T16:19:31.814" v="9"/>
        <pc:sldMkLst>
          <pc:docMk/>
          <pc:sldMk cId="3369696898" sldId="1294"/>
        </pc:sldMkLst>
        <pc:spChg chg="mod">
          <ac:chgData name="Kharatyan, Aschot" userId="S::aschot.kharatyan@iem.fraunhofer.de::d0cfb4ff-9302-4b06-b12a-8844c20e23f6" providerId="AD" clId="Web-{352E615E-FB59-44E4-A202-61F5FD4DD9FB}" dt="2020-04-21T16:19:25.627" v="7" actId="20577"/>
          <ac:spMkLst>
            <pc:docMk/>
            <pc:sldMk cId="3369696898" sldId="1294"/>
            <ac:spMk id="3" creationId="{00000000-0000-0000-0000-000000000000}"/>
          </ac:spMkLst>
        </pc:spChg>
        <pc:spChg chg="del mod">
          <ac:chgData name="Kharatyan, Aschot" userId="S::aschot.kharatyan@iem.fraunhofer.de::d0cfb4ff-9302-4b06-b12a-8844c20e23f6" providerId="AD" clId="Web-{352E615E-FB59-44E4-A202-61F5FD4DD9FB}" dt="2020-04-21T16:19:31.814" v="9"/>
          <ac:spMkLst>
            <pc:docMk/>
            <pc:sldMk cId="3369696898" sldId="1294"/>
            <ac:spMk id="4" creationId="{00000000-0000-0000-0000-000000000000}"/>
          </ac:spMkLst>
        </pc:spChg>
      </pc:sldChg>
      <pc:sldChg chg="modSp">
        <pc:chgData name="Kharatyan, Aschot" userId="S::aschot.kharatyan@iem.fraunhofer.de::d0cfb4ff-9302-4b06-b12a-8844c20e23f6" providerId="AD" clId="Web-{352E615E-FB59-44E4-A202-61F5FD4DD9FB}" dt="2020-04-21T16:19:18.783" v="4" actId="20577"/>
        <pc:sldMkLst>
          <pc:docMk/>
          <pc:sldMk cId="1919784574" sldId="1295"/>
        </pc:sldMkLst>
        <pc:spChg chg="mod">
          <ac:chgData name="Kharatyan, Aschot" userId="S::aschot.kharatyan@iem.fraunhofer.de::d0cfb4ff-9302-4b06-b12a-8844c20e23f6" providerId="AD" clId="Web-{352E615E-FB59-44E4-A202-61F5FD4DD9FB}" dt="2020-04-21T16:19:18.783" v="4" actId="20577"/>
          <ac:spMkLst>
            <pc:docMk/>
            <pc:sldMk cId="1919784574" sldId="1295"/>
            <ac:spMk id="142" creationId="{00000000-0000-0000-0000-000000000000}"/>
          </ac:spMkLst>
        </pc:spChg>
      </pc:sldChg>
      <pc:sldChg chg="modSp">
        <pc:chgData name="Kharatyan, Aschot" userId="S::aschot.kharatyan@iem.fraunhofer.de::d0cfb4ff-9302-4b06-b12a-8844c20e23f6" providerId="AD" clId="Web-{352E615E-FB59-44E4-A202-61F5FD4DD9FB}" dt="2020-04-21T16:29:20.059" v="154" actId="20577"/>
        <pc:sldMkLst>
          <pc:docMk/>
          <pc:sldMk cId="1517053124" sldId="1296"/>
        </pc:sldMkLst>
        <pc:spChg chg="mod">
          <ac:chgData name="Kharatyan, Aschot" userId="S::aschot.kharatyan@iem.fraunhofer.de::d0cfb4ff-9302-4b06-b12a-8844c20e23f6" providerId="AD" clId="Web-{352E615E-FB59-44E4-A202-61F5FD4DD9FB}" dt="2020-04-21T16:29:20.059" v="154" actId="20577"/>
          <ac:spMkLst>
            <pc:docMk/>
            <pc:sldMk cId="1517053124" sldId="1296"/>
            <ac:spMk id="33" creationId="{00000000-0000-0000-0000-000000000000}"/>
          </ac:spMkLst>
        </pc:spChg>
      </pc:sldChg>
      <pc:sldChg chg="modSp del">
        <pc:chgData name="Kharatyan, Aschot" userId="S::aschot.kharatyan@iem.fraunhofer.de::d0cfb4ff-9302-4b06-b12a-8844c20e23f6" providerId="AD" clId="Web-{352E615E-FB59-44E4-A202-61F5FD4DD9FB}" dt="2020-04-21T16:51:43.209" v="1245"/>
        <pc:sldMkLst>
          <pc:docMk/>
          <pc:sldMk cId="3499850752" sldId="1300"/>
        </pc:sldMkLst>
        <pc:spChg chg="mod">
          <ac:chgData name="Kharatyan, Aschot" userId="S::aschot.kharatyan@iem.fraunhofer.de::d0cfb4ff-9302-4b06-b12a-8844c20e23f6" providerId="AD" clId="Web-{352E615E-FB59-44E4-A202-61F5FD4DD9FB}" dt="2020-04-21T16:51:09.317" v="1211" actId="20577"/>
          <ac:spMkLst>
            <pc:docMk/>
            <pc:sldMk cId="3499850752" sldId="1300"/>
            <ac:spMk id="2" creationId="{E88B0832-CBAE-43FE-B447-223DACB4061B}"/>
          </ac:spMkLst>
        </pc:spChg>
      </pc:sldChg>
      <pc:sldChg chg="addSp delSp modSp add replId">
        <pc:chgData name="Kharatyan, Aschot" userId="S::aschot.kharatyan@iem.fraunhofer.de::d0cfb4ff-9302-4b06-b12a-8844c20e23f6" providerId="AD" clId="Web-{352E615E-FB59-44E4-A202-61F5FD4DD9FB}" dt="2020-04-21T16:52:52.694" v="1326" actId="20577"/>
        <pc:sldMkLst>
          <pc:docMk/>
          <pc:sldMk cId="1108856352" sldId="1301"/>
        </pc:sldMkLst>
        <pc:spChg chg="mod">
          <ac:chgData name="Kharatyan, Aschot" userId="S::aschot.kharatyan@iem.fraunhofer.de::d0cfb4ff-9302-4b06-b12a-8844c20e23f6" providerId="AD" clId="Web-{352E615E-FB59-44E4-A202-61F5FD4DD9FB}" dt="2020-04-21T16:52:52.694" v="1326" actId="20577"/>
          <ac:spMkLst>
            <pc:docMk/>
            <pc:sldMk cId="1108856352" sldId="1301"/>
            <ac:spMk id="2" creationId="{00000000-0000-0000-0000-000000000000}"/>
          </ac:spMkLst>
        </pc:spChg>
        <pc:spChg chg="add del mod">
          <ac:chgData name="Kharatyan, Aschot" userId="S::aschot.kharatyan@iem.fraunhofer.de::d0cfb4ff-9302-4b06-b12a-8844c20e23f6" providerId="AD" clId="Web-{352E615E-FB59-44E4-A202-61F5FD4DD9FB}" dt="2020-04-21T16:52:11.522" v="1278"/>
          <ac:spMkLst>
            <pc:docMk/>
            <pc:sldMk cId="1108856352" sldId="1301"/>
            <ac:spMk id="4" creationId="{DDCE1F0C-9BF7-4866-BF37-52901CC84D1C}"/>
          </ac:spMkLst>
        </pc:spChg>
      </pc:sldChg>
      <pc:sldChg chg="new del">
        <pc:chgData name="Kharatyan, Aschot" userId="S::aschot.kharatyan@iem.fraunhofer.de::d0cfb4ff-9302-4b06-b12a-8844c20e23f6" providerId="AD" clId="Web-{352E615E-FB59-44E4-A202-61F5FD4DD9FB}" dt="2020-04-21T16:51:39.333" v="1244"/>
        <pc:sldMkLst>
          <pc:docMk/>
          <pc:sldMk cId="3421884518" sldId="1302"/>
        </pc:sldMkLst>
      </pc:sldChg>
    </pc:docChg>
  </pc:docChgLst>
  <pc:docChgLst>
    <pc:chgData name="Kruthika Hosaballi YajnanarayanaBhat" userId="S::kruthika@mail.uni-paderborn.de::ae744b0d-9166-4acb-aee2-e96e34ec7af6" providerId="AD" clId="Web-{05F17BB1-58F5-4065-BF88-B10D12BD6566}"/>
    <pc:docChg chg="modSld">
      <pc:chgData name="Kruthika Hosaballi YajnanarayanaBhat" userId="S::kruthika@mail.uni-paderborn.de::ae744b0d-9166-4acb-aee2-e96e34ec7af6" providerId="AD" clId="Web-{05F17BB1-58F5-4065-BF88-B10D12BD6566}" dt="2020-04-22T21:30:27.089" v="1" actId="1076"/>
      <pc:docMkLst>
        <pc:docMk/>
      </pc:docMkLst>
      <pc:sldChg chg="modSp">
        <pc:chgData name="Kruthika Hosaballi YajnanarayanaBhat" userId="S::kruthika@mail.uni-paderborn.de::ae744b0d-9166-4acb-aee2-e96e34ec7af6" providerId="AD" clId="Web-{05F17BB1-58F5-4065-BF88-B10D12BD6566}" dt="2020-04-22T21:30:27.089" v="1" actId="1076"/>
        <pc:sldMkLst>
          <pc:docMk/>
          <pc:sldMk cId="2903609815" sldId="1281"/>
        </pc:sldMkLst>
        <pc:picChg chg="mod">
          <ac:chgData name="Kruthika Hosaballi YajnanarayanaBhat" userId="S::kruthika@mail.uni-paderborn.de::ae744b0d-9166-4acb-aee2-e96e34ec7af6" providerId="AD" clId="Web-{05F17BB1-58F5-4065-BF88-B10D12BD6566}" dt="2020-04-22T21:30:27.089" v="1" actId="1076"/>
          <ac:picMkLst>
            <pc:docMk/>
            <pc:sldMk cId="2903609815" sldId="1281"/>
            <ac:picMk id="30" creationId="{00000000-0000-0000-0000-000000000000}"/>
          </ac:picMkLst>
        </pc:picChg>
      </pc:sldChg>
    </pc:docChg>
  </pc:docChgLst>
  <pc:docChgLst>
    <pc:chgData name="Kharatyan, Aschot" userId="S::aschot.kharatyan@iem.fraunhofer.de::d0cfb4ff-9302-4b06-b12a-8844c20e23f6" providerId="AD" clId="Web-{749B3BDC-D860-4732-AC11-99D2D91E4051}"/>
    <pc:docChg chg="addSld modSld sldOrd modSection">
      <pc:chgData name="Kharatyan, Aschot" userId="S::aschot.kharatyan@iem.fraunhofer.de::d0cfb4ff-9302-4b06-b12a-8844c20e23f6" providerId="AD" clId="Web-{749B3BDC-D860-4732-AC11-99D2D91E4051}" dt="2020-04-21T15:50:14.869" v="26" actId="14100"/>
      <pc:docMkLst>
        <pc:docMk/>
      </pc:docMkLst>
      <pc:sldChg chg="ord">
        <pc:chgData name="Kharatyan, Aschot" userId="S::aschot.kharatyan@iem.fraunhofer.de::d0cfb4ff-9302-4b06-b12a-8844c20e23f6" providerId="AD" clId="Web-{749B3BDC-D860-4732-AC11-99D2D91E4051}" dt="2020-04-21T15:49:31.652" v="1"/>
        <pc:sldMkLst>
          <pc:docMk/>
          <pc:sldMk cId="2081624353" sldId="1262"/>
        </pc:sldMkLst>
      </pc:sldChg>
      <pc:sldChg chg="modSp new ord">
        <pc:chgData name="Kharatyan, Aschot" userId="S::aschot.kharatyan@iem.fraunhofer.de::d0cfb4ff-9302-4b06-b12a-8844c20e23f6" providerId="AD" clId="Web-{749B3BDC-D860-4732-AC11-99D2D91E4051}" dt="2020-04-21T15:50:14.869" v="26" actId="14100"/>
        <pc:sldMkLst>
          <pc:docMk/>
          <pc:sldMk cId="3499850752" sldId="1300"/>
        </pc:sldMkLst>
        <pc:spChg chg="mod">
          <ac:chgData name="Kharatyan, Aschot" userId="S::aschot.kharatyan@iem.fraunhofer.de::d0cfb4ff-9302-4b06-b12a-8844c20e23f6" providerId="AD" clId="Web-{749B3BDC-D860-4732-AC11-99D2D91E4051}" dt="2020-04-21T15:50:14.869" v="26" actId="14100"/>
          <ac:spMkLst>
            <pc:docMk/>
            <pc:sldMk cId="3499850752" sldId="1300"/>
            <ac:spMk id="2" creationId="{E88B0832-CBAE-43FE-B447-223DACB4061B}"/>
          </ac:spMkLst>
        </pc:spChg>
        <pc:spChg chg="mod">
          <ac:chgData name="Kharatyan, Aschot" userId="S::aschot.kharatyan@iem.fraunhofer.de::d0cfb4ff-9302-4b06-b12a-8844c20e23f6" providerId="AD" clId="Web-{749B3BDC-D860-4732-AC11-99D2D91E4051}" dt="2020-04-21T15:49:42.400" v="8" actId="20577"/>
          <ac:spMkLst>
            <pc:docMk/>
            <pc:sldMk cId="3499850752" sldId="1300"/>
            <ac:spMk id="3" creationId="{D1DE30BB-8C91-46CC-9C34-67EE3138F368}"/>
          </ac:spMkLst>
        </pc:spChg>
      </pc:sldChg>
    </pc:docChg>
  </pc:docChgLst>
  <pc:docChgLst>
    <pc:chgData name="Kharatyan, Aschot" userId="S::aschot.kharatyan@iem.fraunhofer.de::d0cfb4ff-9302-4b06-b12a-8844c20e23f6" providerId="AD" clId="Web-{B83EAB8C-E1C4-4A6C-B42B-621D63C6E792}"/>
    <pc:docChg chg="delSld modSld sldOrd modSection">
      <pc:chgData name="Kharatyan, Aschot" userId="S::aschot.kharatyan@iem.fraunhofer.de::d0cfb4ff-9302-4b06-b12a-8844c20e23f6" providerId="AD" clId="Web-{B83EAB8C-E1C4-4A6C-B42B-621D63C6E792}" dt="2020-04-21T17:04:13.889" v="56" actId="20577"/>
      <pc:docMkLst>
        <pc:docMk/>
      </pc:docMkLst>
      <pc:sldChg chg="modSp del">
        <pc:chgData name="Kharatyan, Aschot" userId="S::aschot.kharatyan@iem.fraunhofer.de::d0cfb4ff-9302-4b06-b12a-8844c20e23f6" providerId="AD" clId="Web-{B83EAB8C-E1C4-4A6C-B42B-621D63C6E792}" dt="2020-04-21T17:02:33.013" v="27"/>
        <pc:sldMkLst>
          <pc:docMk/>
          <pc:sldMk cId="2081624353" sldId="1262"/>
        </pc:sldMkLst>
        <pc:spChg chg="mod">
          <ac:chgData name="Kharatyan, Aschot" userId="S::aschot.kharatyan@iem.fraunhofer.de::d0cfb4ff-9302-4b06-b12a-8844c20e23f6" providerId="AD" clId="Web-{B83EAB8C-E1C4-4A6C-B42B-621D63C6E792}" dt="2020-04-21T16:59:54.042" v="2" actId="20577"/>
          <ac:spMkLst>
            <pc:docMk/>
            <pc:sldMk cId="2081624353" sldId="1262"/>
            <ac:spMk id="2" creationId="{00000000-0000-0000-0000-000000000000}"/>
          </ac:spMkLst>
        </pc:spChg>
      </pc:sldChg>
      <pc:sldChg chg="modSp ord">
        <pc:chgData name="Kharatyan, Aschot" userId="S::aschot.kharatyan@iem.fraunhofer.de::d0cfb4ff-9302-4b06-b12a-8844c20e23f6" providerId="AD" clId="Web-{B83EAB8C-E1C4-4A6C-B42B-621D63C6E792}" dt="2020-04-21T17:04:13.889" v="56" actId="20577"/>
        <pc:sldMkLst>
          <pc:docMk/>
          <pc:sldMk cId="1746099486" sldId="1284"/>
        </pc:sldMkLst>
        <pc:spChg chg="mod">
          <ac:chgData name="Kharatyan, Aschot" userId="S::aschot.kharatyan@iem.fraunhofer.de::d0cfb4ff-9302-4b06-b12a-8844c20e23f6" providerId="AD" clId="Web-{B83EAB8C-E1C4-4A6C-B42B-621D63C6E792}" dt="2020-04-21T17:04:13.889" v="56" actId="20577"/>
          <ac:spMkLst>
            <pc:docMk/>
            <pc:sldMk cId="1746099486" sldId="1284"/>
            <ac:spMk id="2" creationId="{00000000-0000-0000-0000-000000000000}"/>
          </ac:spMkLst>
        </pc:spChg>
        <pc:spChg chg="mod">
          <ac:chgData name="Kharatyan, Aschot" userId="S::aschot.kharatyan@iem.fraunhofer.de::d0cfb4ff-9302-4b06-b12a-8844c20e23f6" providerId="AD" clId="Web-{B83EAB8C-E1C4-4A6C-B42B-621D63C6E792}" dt="2020-04-21T17:03:47.717" v="40" actId="20577"/>
          <ac:spMkLst>
            <pc:docMk/>
            <pc:sldMk cId="1746099486" sldId="1284"/>
            <ac:spMk id="4" creationId="{00000000-0000-0000-0000-000000000000}"/>
          </ac:spMkLst>
        </pc:spChg>
      </pc:sldChg>
      <pc:sldChg chg="modSp">
        <pc:chgData name="Kharatyan, Aschot" userId="S::aschot.kharatyan@iem.fraunhofer.de::d0cfb4ff-9302-4b06-b12a-8844c20e23f6" providerId="AD" clId="Web-{B83EAB8C-E1C4-4A6C-B42B-621D63C6E792}" dt="2020-04-21T17:04:03.311" v="41" actId="20577"/>
        <pc:sldMkLst>
          <pc:docMk/>
          <pc:sldMk cId="1108856352" sldId="1301"/>
        </pc:sldMkLst>
        <pc:spChg chg="mod">
          <ac:chgData name="Kharatyan, Aschot" userId="S::aschot.kharatyan@iem.fraunhofer.de::d0cfb4ff-9302-4b06-b12a-8844c20e23f6" providerId="AD" clId="Web-{B83EAB8C-E1C4-4A6C-B42B-621D63C6E792}" dt="2020-04-21T17:04:03.311" v="41" actId="20577"/>
          <ac:spMkLst>
            <pc:docMk/>
            <pc:sldMk cId="1108856352" sldId="1301"/>
            <ac:spMk id="2" creationId="{00000000-0000-0000-0000-000000000000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_80000052_E47394A0.xlsx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_80000053_E10350AA.xlsx"/><Relationship Id="rId1" Type="http://schemas.openxmlformats.org/officeDocument/2006/relationships/themeOverride" Target="../theme/themeOverride2.xm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_80000054_CEA6A039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1336343385697301"/>
          <c:y val="0.26142260016644298"/>
          <c:w val="0.79760507146278203"/>
          <c:h val="0.6299888778815270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Blatt1!$B$1</c:f>
              <c:strCache>
                <c:ptCount val="1"/>
                <c:pt idx="0">
                  <c:v>Datenreihe 1</c:v>
                </c:pt>
              </c:strCache>
            </c:strRef>
          </c:tx>
          <c:spPr>
            <a:solidFill>
              <a:schemeClr val="accent2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 b="0" i="0">
                    <a:solidFill>
                      <a:schemeClr val="accent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Blatt1!$A$2:$A$6</c:f>
              <c:strCache>
                <c:ptCount val="5"/>
                <c:pt idx="0">
                  <c:v>2012/13</c:v>
                </c:pt>
                <c:pt idx="1">
                  <c:v>2013/14</c:v>
                </c:pt>
                <c:pt idx="2">
                  <c:v>2014/15</c:v>
                </c:pt>
                <c:pt idx="3">
                  <c:v>2015/16</c:v>
                </c:pt>
                <c:pt idx="4">
                  <c:v>2016/17</c:v>
                </c:pt>
              </c:strCache>
            </c:strRef>
          </c:cat>
          <c:val>
            <c:numRef>
              <c:f>Blatt1!$B$2:$B$6</c:f>
              <c:numCache>
                <c:formatCode>General</c:formatCode>
                <c:ptCount val="5"/>
                <c:pt idx="0">
                  <c:v>30.2</c:v>
                </c:pt>
                <c:pt idx="1">
                  <c:v>48.5</c:v>
                </c:pt>
                <c:pt idx="2">
                  <c:v>42.6</c:v>
                </c:pt>
                <c:pt idx="3">
                  <c:v>31.9</c:v>
                </c:pt>
                <c:pt idx="4" formatCode="0.0">
                  <c:v>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2FC-48B6-81D5-6A9FCC2F009C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80"/>
        <c:axId val="1543048"/>
        <c:axId val="720132104"/>
      </c:barChart>
      <c:catAx>
        <c:axId val="1543048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ln w="12700" cmpd="sng"/>
        </c:spPr>
        <c:txPr>
          <a:bodyPr/>
          <a:lstStyle/>
          <a:p>
            <a:pPr>
              <a:defRPr sz="1600">
                <a:solidFill>
                  <a:schemeClr val="accent5"/>
                </a:solidFill>
              </a:defRPr>
            </a:pPr>
            <a:endParaRPr lang="en-US"/>
          </a:p>
        </c:txPr>
        <c:crossAx val="720132104"/>
        <c:crosses val="autoZero"/>
        <c:auto val="1"/>
        <c:lblAlgn val="ctr"/>
        <c:lblOffset val="100"/>
        <c:noMultiLvlLbl val="0"/>
      </c:catAx>
      <c:valAx>
        <c:axId val="720132104"/>
        <c:scaling>
          <c:orientation val="minMax"/>
          <c:max val="60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ln w="12700" cmpd="sng"/>
        </c:spPr>
        <c:txPr>
          <a:bodyPr/>
          <a:lstStyle/>
          <a:p>
            <a:pPr>
              <a:defRPr sz="1600">
                <a:solidFill>
                  <a:schemeClr val="accent5"/>
                </a:solidFill>
              </a:defRPr>
            </a:pPr>
            <a:endParaRPr lang="en-US"/>
          </a:p>
        </c:txPr>
        <c:crossAx val="1543048"/>
        <c:crosses val="autoZero"/>
        <c:crossBetween val="between"/>
        <c:majorUnit val="20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4.8946216579595601E-2"/>
          <c:y val="3.6445283739960997E-2"/>
          <c:w val="0.715043894556738"/>
          <c:h val="0.8545277557650009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134094"/>
            </a:solidFill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A8A-4B9C-8474-583A11901CF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rgbClr val="FFFFFF">
                <a:lumMod val="85000"/>
              </a:srgbClr>
            </a:solidFill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A8A-4B9C-8474-583A11901CF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rgbClr val="FFFFFF">
                <a:lumMod val="75000"/>
              </a:srgbClr>
            </a:solidFill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A8A-4B9C-8474-583A11901CF1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ries 4</c:v>
                </c:pt>
              </c:strCache>
            </c:strRef>
          </c:tx>
          <c:spPr>
            <a:solidFill>
              <a:srgbClr val="FFFFFF">
                <a:lumMod val="65000"/>
              </a:srgbClr>
            </a:solidFill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E$2:$E$5</c:f>
              <c:numCache>
                <c:formatCode>General</c:formatCode>
                <c:ptCount val="4"/>
                <c:pt idx="0">
                  <c:v>1</c:v>
                </c:pt>
                <c:pt idx="1">
                  <c:v>4</c:v>
                </c:pt>
                <c:pt idx="2">
                  <c:v>5</c:v>
                </c:pt>
                <c:pt idx="3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A8A-4B9C-8474-583A11901CF1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Series 5</c:v>
                </c:pt>
              </c:strCache>
            </c:strRef>
          </c:tx>
          <c:spPr>
            <a:solidFill>
              <a:srgbClr val="FFFFFF">
                <a:lumMod val="50000"/>
              </a:srgbClr>
            </a:solidFill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F$2:$F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A8A-4B9C-8474-583A11901CF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500136"/>
        <c:axId val="720410360"/>
      </c:barChart>
      <c:catAx>
        <c:axId val="1500136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ln w="19050">
            <a:solidFill>
              <a:srgbClr val="929699"/>
            </a:solidFill>
          </a:ln>
        </c:spPr>
        <c:crossAx val="720410360"/>
        <c:crosses val="autoZero"/>
        <c:auto val="1"/>
        <c:lblAlgn val="ctr"/>
        <c:lblOffset val="100"/>
        <c:noMultiLvlLbl val="0"/>
      </c:catAx>
      <c:valAx>
        <c:axId val="720410360"/>
        <c:scaling>
          <c:orientation val="minMax"/>
        </c:scaling>
        <c:delete val="0"/>
        <c:axPos val="l"/>
        <c:majorGridlines>
          <c:spPr>
            <a:ln w="12700">
              <a:solidFill>
                <a:srgbClr val="CBD2D8"/>
              </a:solidFill>
            </a:ln>
          </c:spPr>
        </c:majorGridlines>
        <c:numFmt formatCode="General" sourceLinked="1"/>
        <c:majorTickMark val="out"/>
        <c:minorTickMark val="none"/>
        <c:tickLblPos val="nextTo"/>
        <c:spPr>
          <a:ln w="19050" cmpd="sng"/>
        </c:spPr>
        <c:crossAx val="1500136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76993185737810999"/>
          <c:y val="9.3031973951202204E-2"/>
          <c:w val="0.105616448307652"/>
          <c:h val="0.88629174726394599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600">
          <a:latin typeface="Arial"/>
        </a:defRPr>
      </a:pPr>
      <a:endParaRPr lang="en-US"/>
    </a:p>
  </c:tx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81435564698848"/>
          <c:y val="0.171202198299681"/>
          <c:w val="0.53737683679670301"/>
          <c:h val="0.808116451882267"/>
        </c:manualLayout>
      </c:layout>
      <c:doughnutChart>
        <c:varyColors val="1"/>
        <c:ser>
          <c:idx val="0"/>
          <c:order val="0"/>
          <c:tx>
            <c:strRef>
              <c:f>Blatt1!$B$1</c:f>
              <c:strCache>
                <c:ptCount val="1"/>
                <c:pt idx="0">
                  <c:v>Umsätze</c:v>
                </c:pt>
              </c:strCache>
            </c:strRef>
          </c:tx>
          <c:dPt>
            <c:idx val="0"/>
            <c:bubble3D val="0"/>
            <c:spPr>
              <a:solidFill>
                <a:schemeClr val="tx1"/>
              </a:solidFill>
            </c:spPr>
            <c:extLst>
              <c:ext xmlns:c16="http://schemas.microsoft.com/office/drawing/2014/chart" uri="{C3380CC4-5D6E-409C-BE32-E72D297353CC}">
                <c16:uniqueId val="{00000001-FBD6-4ED2-B866-8F0EF7ED749E}"/>
              </c:ext>
            </c:extLst>
          </c:dPt>
          <c:dPt>
            <c:idx val="1"/>
            <c:bubble3D val="0"/>
            <c:spPr>
              <a:solidFill>
                <a:schemeClr val="accent5"/>
              </a:solidFill>
            </c:spPr>
            <c:extLst>
              <c:ext xmlns:c16="http://schemas.microsoft.com/office/drawing/2014/chart" uri="{C3380CC4-5D6E-409C-BE32-E72D297353CC}">
                <c16:uniqueId val="{00000003-FBD6-4ED2-B866-8F0EF7ED749E}"/>
              </c:ext>
            </c:extLst>
          </c:dPt>
          <c:dPt>
            <c:idx val="2"/>
            <c:bubble3D val="0"/>
            <c:spPr>
              <a:solidFill>
                <a:schemeClr val="bg1">
                  <a:lumMod val="65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5-FBD6-4ED2-B866-8F0EF7ED749E}"/>
              </c:ext>
            </c:extLst>
          </c:dPt>
          <c:dPt>
            <c:idx val="3"/>
            <c:bubble3D val="0"/>
            <c:spPr>
              <a:solidFill>
                <a:schemeClr val="bg1">
                  <a:lumMod val="75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7-FBD6-4ED2-B866-8F0EF7ED749E}"/>
              </c:ext>
            </c:extLst>
          </c:dPt>
          <c:dPt>
            <c:idx val="4"/>
            <c:bubble3D val="0"/>
            <c:spPr>
              <a:solidFill>
                <a:schemeClr val="bg1">
                  <a:lumMod val="85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9-FBD6-4ED2-B866-8F0EF7ED749E}"/>
              </c:ext>
            </c:extLst>
          </c:dPt>
          <c:dPt>
            <c:idx val="5"/>
            <c:bubble3D val="0"/>
            <c:spPr>
              <a:solidFill>
                <a:srgbClr val="9FB5DE"/>
              </a:solidFill>
            </c:spPr>
            <c:extLst>
              <c:ext xmlns:c16="http://schemas.microsoft.com/office/drawing/2014/chart" uri="{C3380CC4-5D6E-409C-BE32-E72D297353CC}">
                <c16:uniqueId val="{0000000B-FBD6-4ED2-B866-8F0EF7ED749E}"/>
              </c:ext>
            </c:extLst>
          </c:dPt>
          <c:dPt>
            <c:idx val="6"/>
            <c:bubble3D val="0"/>
            <c:spPr>
              <a:solidFill>
                <a:srgbClr val="4979BC"/>
              </a:solidFill>
            </c:spPr>
            <c:extLst>
              <c:ext xmlns:c16="http://schemas.microsoft.com/office/drawing/2014/chart" uri="{C3380CC4-5D6E-409C-BE32-E72D297353CC}">
                <c16:uniqueId val="{0000000D-FBD6-4ED2-B866-8F0EF7ED749E}"/>
              </c:ext>
            </c:extLst>
          </c:dPt>
          <c:dPt>
            <c:idx val="7"/>
            <c:bubble3D val="0"/>
            <c:spPr>
              <a:solidFill>
                <a:schemeClr val="accent2"/>
              </a:solidFill>
            </c:spPr>
            <c:extLst>
              <c:ext xmlns:c16="http://schemas.microsoft.com/office/drawing/2014/chart" uri="{C3380CC4-5D6E-409C-BE32-E72D297353CC}">
                <c16:uniqueId val="{0000000F-FBD6-4ED2-B866-8F0EF7ED749E}"/>
              </c:ext>
            </c:extLst>
          </c:dPt>
          <c:dLbls>
            <c:delete val="1"/>
          </c:dLbls>
          <c:cat>
            <c:strRef>
              <c:f>Blatt1!$A$2:$A$9</c:f>
              <c:strCache>
                <c:ptCount val="8"/>
                <c:pt idx="0">
                  <c:v>Leasing</c:v>
                </c:pt>
                <c:pt idx="1">
                  <c:v>Reparaturen</c:v>
                </c:pt>
                <c:pt idx="2">
                  <c:v>Ersatzteile</c:v>
                </c:pt>
                <c:pt idx="3">
                  <c:v>Sonstige</c:v>
                </c:pt>
                <c:pt idx="4">
                  <c:v>Sattelkipper</c:v>
                </c:pt>
                <c:pt idx="5">
                  <c:v>Handelsware</c:v>
                </c:pt>
                <c:pt idx="6">
                  <c:v>Sattelpritsche</c:v>
                </c:pt>
                <c:pt idx="7">
                  <c:v>Sattelkoffer</c:v>
                </c:pt>
              </c:strCache>
            </c:strRef>
          </c:cat>
          <c:val>
            <c:numRef>
              <c:f>Blatt1!$B$2:$B$9</c:f>
              <c:numCache>
                <c:formatCode>0.00%</c:formatCode>
                <c:ptCount val="8"/>
                <c:pt idx="0">
                  <c:v>5.0000000000000001E-3</c:v>
                </c:pt>
                <c:pt idx="1">
                  <c:v>7.0000000000000001E-3</c:v>
                </c:pt>
                <c:pt idx="2">
                  <c:v>4.2000000000000003E-2</c:v>
                </c:pt>
                <c:pt idx="3">
                  <c:v>4.2999999999999997E-2</c:v>
                </c:pt>
                <c:pt idx="4">
                  <c:v>5.5E-2</c:v>
                </c:pt>
                <c:pt idx="5">
                  <c:v>0.06</c:v>
                </c:pt>
                <c:pt idx="6">
                  <c:v>0.35899999999999999</c:v>
                </c:pt>
                <c:pt idx="7">
                  <c:v>0.428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FBD6-4ED2-B866-8F0EF7ED749E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</c:plotArea>
    <c:plotVisOnly val="1"/>
    <c:dispBlanksAs val="gap"/>
    <c:showDLblsOverMax val="0"/>
  </c:chart>
  <c:txPr>
    <a:bodyPr rot="0"/>
    <a:lstStyle/>
    <a:p>
      <a:pPr>
        <a:defRPr sz="1600"/>
      </a:pPr>
      <a:endParaRPr lang="en-US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"/>
          <p:cNvSpPr>
            <a:spLocks noGrp="1"/>
          </p:cNvSpPr>
          <p:nvPr>
            <p:ph type="ftr" sz="quarter" idx="2"/>
          </p:nvPr>
        </p:nvSpPr>
        <p:spPr>
          <a:xfrm>
            <a:off x="0" y="8604000"/>
            <a:ext cx="5040000" cy="540000"/>
          </a:xfrm>
          <a:prstGeom prst="rect">
            <a:avLst/>
          </a:prstGeom>
        </p:spPr>
        <p:txBody>
          <a:bodyPr vert="horz" lIns="360000" tIns="0" rIns="0" bIns="18000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"/>
          <p:cNvSpPr>
            <a:spLocks noGrp="1"/>
          </p:cNvSpPr>
          <p:nvPr>
            <p:ph type="sldNum" sz="quarter" idx="3"/>
          </p:nvPr>
        </p:nvSpPr>
        <p:spPr>
          <a:xfrm>
            <a:off x="5418000" y="8604000"/>
            <a:ext cx="1440000" cy="540000"/>
          </a:xfrm>
          <a:prstGeom prst="rect">
            <a:avLst/>
          </a:prstGeom>
        </p:spPr>
        <p:txBody>
          <a:bodyPr vert="horz" lIns="0" tIns="0" rIns="360000" bIns="180000" rtlCol="0" anchor="b"/>
          <a:lstStyle>
            <a:lvl1pPr algn="r">
              <a:defRPr sz="1200"/>
            </a:lvl1pPr>
          </a:lstStyle>
          <a:p>
            <a:fld id="{CD9C266D-9BF6-45DD-93F4-23D3D4380AFF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6793992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"/>
          <p:cNvSpPr>
            <a:spLocks noGrp="1" noRot="1" noChangeAspect="1"/>
          </p:cNvSpPr>
          <p:nvPr>
            <p:ph type="sldImg" idx="2"/>
          </p:nvPr>
        </p:nvSpPr>
        <p:spPr>
          <a:xfrm>
            <a:off x="360000" y="432000"/>
            <a:ext cx="6138000" cy="3454424"/>
          </a:xfrm>
          <a:prstGeom prst="rect">
            <a:avLst/>
          </a:prstGeom>
          <a:noFill/>
          <a:ln w="12700">
            <a:solidFill>
              <a:prstClr val="black"/>
            </a:solidFill>
            <a:miter lim="800000"/>
          </a:ln>
        </p:spPr>
        <p:txBody>
          <a:bodyPr vert="horz" lIns="0" tIns="0" rIns="0" bIns="0" rtlCol="0" anchor="ctr"/>
          <a:lstStyle/>
          <a:p>
            <a:endParaRPr lang="de-DE" noProof="0"/>
          </a:p>
        </p:txBody>
      </p:sp>
      <p:sp>
        <p:nvSpPr>
          <p:cNvPr id="5" name="Notizen"/>
          <p:cNvSpPr>
            <a:spLocks noGrp="1"/>
          </p:cNvSpPr>
          <p:nvPr>
            <p:ph type="body" sz="quarter" idx="3"/>
          </p:nvPr>
        </p:nvSpPr>
        <p:spPr>
          <a:xfrm>
            <a:off x="359999" y="4248000"/>
            <a:ext cx="6138000" cy="40680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6" name="Fußzeile"/>
          <p:cNvSpPr>
            <a:spLocks noGrp="1"/>
          </p:cNvSpPr>
          <p:nvPr>
            <p:ph type="ftr" sz="quarter" idx="4"/>
          </p:nvPr>
        </p:nvSpPr>
        <p:spPr>
          <a:xfrm>
            <a:off x="0" y="8604000"/>
            <a:ext cx="5040000" cy="540000"/>
          </a:xfrm>
          <a:prstGeom prst="rect">
            <a:avLst/>
          </a:prstGeom>
        </p:spPr>
        <p:txBody>
          <a:bodyPr vert="horz" lIns="360000" tIns="0" rIns="0" bIns="180000" rtlCol="0" anchor="b"/>
          <a:lstStyle>
            <a:lvl1pPr algn="l">
              <a:defRPr sz="1200"/>
            </a:lvl1pPr>
          </a:lstStyle>
          <a:p>
            <a:endParaRPr lang="de-DE" noProof="0"/>
          </a:p>
        </p:txBody>
      </p:sp>
      <p:sp>
        <p:nvSpPr>
          <p:cNvPr id="7" name="Foliennummer"/>
          <p:cNvSpPr>
            <a:spLocks noGrp="1"/>
          </p:cNvSpPr>
          <p:nvPr>
            <p:ph type="sldNum" sz="quarter" idx="5"/>
          </p:nvPr>
        </p:nvSpPr>
        <p:spPr>
          <a:xfrm>
            <a:off x="5418000" y="8604000"/>
            <a:ext cx="1440000" cy="540000"/>
          </a:xfrm>
          <a:prstGeom prst="rect">
            <a:avLst/>
          </a:prstGeom>
        </p:spPr>
        <p:txBody>
          <a:bodyPr vert="horz" lIns="0" tIns="0" rIns="360000" bIns="180000" rtlCol="0" anchor="b"/>
          <a:lstStyle>
            <a:lvl1pPr algn="r">
              <a:defRPr sz="1200"/>
            </a:lvl1pPr>
          </a:lstStyle>
          <a:p>
            <a:fld id="{92DA5471-CC57-402A-9527-36A1D012F698}" type="slidenum">
              <a:rPr lang="de-DE" noProof="0" smtClean="0"/>
              <a:t>‹#›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1286535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60363" y="431800"/>
            <a:ext cx="6137275" cy="34544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28" indent="-171428" defTabSz="914286">
              <a:defRPr/>
            </a:pPr>
            <a:r>
              <a:rPr lang="de-DE" err="1"/>
              <a:t>Hello</a:t>
            </a:r>
            <a:r>
              <a:rPr lang="de-DE"/>
              <a:t> Sergej Japs, </a:t>
            </a:r>
            <a:r>
              <a:rPr lang="de-DE" err="1"/>
              <a:t>I‘m</a:t>
            </a:r>
            <a:r>
              <a:rPr lang="de-DE"/>
              <a:t> </a:t>
            </a:r>
            <a:r>
              <a:rPr lang="de-DE" err="1"/>
              <a:t>research</a:t>
            </a:r>
            <a:r>
              <a:rPr lang="de-DE" baseline="0"/>
              <a:t> </a:t>
            </a:r>
            <a:r>
              <a:rPr lang="de-DE" baseline="0" err="1"/>
              <a:t>associate</a:t>
            </a:r>
            <a:r>
              <a:rPr lang="de-DE" baseline="0"/>
              <a:t> at Fraunhofer in Paderborn. An I will </a:t>
            </a:r>
            <a:r>
              <a:rPr lang="de-DE" baseline="0" err="1"/>
              <a:t>present</a:t>
            </a:r>
            <a:r>
              <a:rPr lang="de-DE" baseline="0"/>
              <a:t> </a:t>
            </a:r>
            <a:r>
              <a:rPr lang="de-DE" baseline="0" err="1"/>
              <a:t>you</a:t>
            </a:r>
            <a:r>
              <a:rPr lang="de-DE" baseline="0"/>
              <a:t> </a:t>
            </a:r>
            <a:r>
              <a:rPr lang="de-DE" baseline="0" err="1"/>
              <a:t>the</a:t>
            </a:r>
            <a:r>
              <a:rPr lang="de-DE" baseline="0"/>
              <a:t> Project Group BATMAN.</a:t>
            </a:r>
            <a:endParaRPr lang="de-DE"/>
          </a:p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118F77-BF2E-4843-AA6C-ED9ACCB38B45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8646523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60363" y="431800"/>
            <a:ext cx="6137275" cy="34544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sz="120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DA5471-CC57-402A-9527-36A1D012F698}" type="slidenum">
              <a:rPr lang="de-DE" noProof="0" smtClean="0"/>
              <a:t>12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415909576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60363" y="431800"/>
            <a:ext cx="6137275" cy="34544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DA5471-CC57-402A-9527-36A1D012F698}" type="slidenum">
              <a:rPr lang="de-DE" noProof="0" smtClean="0"/>
              <a:t>17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317714349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60363" y="431800"/>
            <a:ext cx="6137275" cy="34544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DA5471-CC57-402A-9527-36A1D012F698}" type="slidenum">
              <a:rPr lang="de-DE" noProof="0" smtClean="0"/>
              <a:t>18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269483853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60363" y="431800"/>
            <a:ext cx="6137275" cy="34544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DA5471-CC57-402A-9527-36A1D012F698}" type="slidenum">
              <a:rPr lang="de-DE" noProof="0" smtClean="0"/>
              <a:t>19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84300289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60363" y="431800"/>
            <a:ext cx="6137275" cy="34544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DA5471-CC57-402A-9527-36A1D012F698}" type="slidenum">
              <a:rPr lang="de-DE" noProof="0" smtClean="0"/>
              <a:t>20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141228225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60363" y="431800"/>
            <a:ext cx="6137275" cy="34544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DA5471-CC57-402A-9527-36A1D012F698}" type="slidenum">
              <a:rPr lang="de-DE" noProof="0" smtClean="0"/>
              <a:t>21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413635433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60363" y="431800"/>
            <a:ext cx="6137275" cy="34544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/>
              <a:t>The </a:t>
            </a:r>
            <a:r>
              <a:rPr lang="de-DE" err="1"/>
              <a:t>fraunhofer</a:t>
            </a:r>
            <a:r>
              <a:rPr lang="de-DE"/>
              <a:t> </a:t>
            </a:r>
            <a:r>
              <a:rPr lang="de-DE" err="1"/>
              <a:t>society</a:t>
            </a:r>
            <a:r>
              <a:rPr lang="de-DE"/>
              <a:t> </a:t>
            </a:r>
            <a:r>
              <a:rPr lang="de-DE" err="1"/>
              <a:t>is</a:t>
            </a:r>
            <a:r>
              <a:rPr lang="de-DE"/>
              <a:t> </a:t>
            </a:r>
            <a:r>
              <a:rPr lang="de-DE" err="1"/>
              <a:t>doing</a:t>
            </a:r>
            <a:r>
              <a:rPr lang="de-DE"/>
              <a:t> </a:t>
            </a:r>
            <a:r>
              <a:rPr lang="de-DE" err="1"/>
              <a:t>applied</a:t>
            </a:r>
            <a:r>
              <a:rPr lang="de-DE"/>
              <a:t> </a:t>
            </a:r>
            <a:r>
              <a:rPr lang="de-DE" err="1"/>
              <a:t>research</a:t>
            </a:r>
            <a:r>
              <a:rPr lang="de-DE"/>
              <a:t>.</a:t>
            </a:r>
          </a:p>
          <a:p>
            <a:r>
              <a:rPr lang="de-DE" err="1"/>
              <a:t>We</a:t>
            </a:r>
            <a:r>
              <a:rPr lang="de-DE"/>
              <a:t> </a:t>
            </a:r>
            <a:r>
              <a:rPr lang="de-DE" err="1"/>
              <a:t>have</a:t>
            </a:r>
            <a:r>
              <a:rPr lang="de-DE"/>
              <a:t> 26000</a:t>
            </a:r>
            <a:r>
              <a:rPr lang="de-DE" baseline="0"/>
              <a:t> </a:t>
            </a:r>
            <a:r>
              <a:rPr lang="de-DE" baseline="0" err="1"/>
              <a:t>employees</a:t>
            </a:r>
            <a:r>
              <a:rPr lang="de-DE" baseline="0"/>
              <a:t> in </a:t>
            </a:r>
            <a:r>
              <a:rPr lang="de-DE" baseline="0" err="1"/>
              <a:t>germany</a:t>
            </a:r>
            <a:endParaRPr lang="de-DE" baseline="0"/>
          </a:p>
          <a:p>
            <a:r>
              <a:rPr lang="de-DE" baseline="0" err="1"/>
              <a:t>And</a:t>
            </a:r>
            <a:r>
              <a:rPr lang="de-DE" baseline="0"/>
              <a:t> 76 Institutes in </a:t>
            </a:r>
            <a:r>
              <a:rPr lang="de-DE" baseline="0" err="1"/>
              <a:t>germany</a:t>
            </a:r>
            <a:endParaRPr lang="de-DE" baseline="0"/>
          </a:p>
          <a:p>
            <a:r>
              <a:rPr lang="de-DE" baseline="0"/>
              <a:t>The </a:t>
            </a:r>
            <a:r>
              <a:rPr lang="de-DE" baseline="0" err="1"/>
              <a:t>paderborn</a:t>
            </a:r>
            <a:r>
              <a:rPr lang="de-DE" baseline="0"/>
              <a:t> </a:t>
            </a:r>
            <a:r>
              <a:rPr lang="de-DE" baseline="0" err="1"/>
              <a:t>institute</a:t>
            </a:r>
            <a:r>
              <a:rPr lang="de-DE" baseline="0"/>
              <a:t> </a:t>
            </a:r>
            <a:r>
              <a:rPr lang="de-DE" baseline="0" err="1"/>
              <a:t>has</a:t>
            </a:r>
            <a:r>
              <a:rPr lang="de-DE" baseline="0"/>
              <a:t> </a:t>
            </a:r>
            <a:r>
              <a:rPr lang="de-DE" baseline="0" err="1"/>
              <a:t>over</a:t>
            </a:r>
            <a:r>
              <a:rPr lang="de-DE" baseline="0"/>
              <a:t> 110 </a:t>
            </a:r>
            <a:r>
              <a:rPr lang="de-DE" baseline="0" err="1"/>
              <a:t>employees</a:t>
            </a:r>
            <a:endParaRPr lang="de-DE" baseline="0"/>
          </a:p>
          <a:p>
            <a:r>
              <a:rPr lang="de-DE" baseline="0" err="1"/>
              <a:t>We</a:t>
            </a:r>
            <a:r>
              <a:rPr lang="de-DE" baseline="0"/>
              <a:t> </a:t>
            </a:r>
            <a:r>
              <a:rPr lang="de-DE" baseline="0" err="1"/>
              <a:t>have</a:t>
            </a:r>
            <a:r>
              <a:rPr lang="de-DE" baseline="0"/>
              <a:t> </a:t>
            </a:r>
            <a:r>
              <a:rPr lang="de-DE" baseline="0" err="1"/>
              <a:t>three</a:t>
            </a:r>
            <a:r>
              <a:rPr lang="de-DE" baseline="0"/>
              <a:t> </a:t>
            </a:r>
            <a:r>
              <a:rPr lang="de-DE" baseline="0" err="1"/>
              <a:t>reasarch</a:t>
            </a:r>
            <a:r>
              <a:rPr lang="de-DE" baseline="0"/>
              <a:t> </a:t>
            </a:r>
            <a:r>
              <a:rPr lang="de-DE" baseline="0" err="1"/>
              <a:t>areas</a:t>
            </a:r>
            <a:r>
              <a:rPr lang="de-DE" baseline="0"/>
              <a:t>, </a:t>
            </a:r>
            <a:r>
              <a:rPr lang="de-DE" baseline="0" err="1"/>
              <a:t>and</a:t>
            </a:r>
            <a:r>
              <a:rPr lang="de-DE" baseline="0"/>
              <a:t> all </a:t>
            </a:r>
            <a:r>
              <a:rPr lang="de-DE" baseline="0" err="1"/>
              <a:t>of</a:t>
            </a:r>
            <a:r>
              <a:rPr lang="de-DE" baseline="0"/>
              <a:t> </a:t>
            </a:r>
            <a:r>
              <a:rPr lang="de-DE" baseline="0" err="1"/>
              <a:t>these</a:t>
            </a:r>
            <a:r>
              <a:rPr lang="de-DE" baseline="0"/>
              <a:t> </a:t>
            </a:r>
            <a:r>
              <a:rPr lang="de-DE" baseline="0" err="1"/>
              <a:t>areas</a:t>
            </a:r>
            <a:r>
              <a:rPr lang="de-DE" baseline="0"/>
              <a:t> </a:t>
            </a:r>
            <a:r>
              <a:rPr lang="de-DE" baseline="0" err="1"/>
              <a:t>are</a:t>
            </a:r>
            <a:r>
              <a:rPr lang="de-DE" baseline="0"/>
              <a:t> </a:t>
            </a:r>
            <a:r>
              <a:rPr lang="de-DE" baseline="0" err="1"/>
              <a:t>directed</a:t>
            </a:r>
            <a:r>
              <a:rPr lang="de-DE" baseline="0"/>
              <a:t> </a:t>
            </a:r>
            <a:r>
              <a:rPr lang="de-DE" baseline="0" err="1"/>
              <a:t>by</a:t>
            </a:r>
            <a:r>
              <a:rPr lang="de-DE" baseline="0"/>
              <a:t> Professors </a:t>
            </a:r>
            <a:r>
              <a:rPr lang="de-DE" baseline="0" err="1"/>
              <a:t>of</a:t>
            </a:r>
            <a:r>
              <a:rPr lang="de-DE" baseline="0"/>
              <a:t> </a:t>
            </a:r>
            <a:r>
              <a:rPr lang="de-DE" baseline="0" err="1"/>
              <a:t>the</a:t>
            </a:r>
            <a:r>
              <a:rPr lang="de-DE" baseline="0"/>
              <a:t> </a:t>
            </a:r>
            <a:r>
              <a:rPr lang="de-DE" baseline="0" err="1"/>
              <a:t>university</a:t>
            </a:r>
            <a:r>
              <a:rPr lang="de-DE" baseline="0"/>
              <a:t> </a:t>
            </a:r>
            <a:r>
              <a:rPr lang="de-DE" baseline="0" err="1"/>
              <a:t>of</a:t>
            </a:r>
            <a:r>
              <a:rPr lang="de-DE" baseline="0"/>
              <a:t> </a:t>
            </a:r>
            <a:r>
              <a:rPr lang="de-DE" baseline="0" err="1"/>
              <a:t>paderborn</a:t>
            </a:r>
            <a:endParaRPr lang="de-DE" baseline="0"/>
          </a:p>
          <a:p>
            <a:r>
              <a:rPr lang="de-DE" baseline="0" err="1"/>
              <a:t>Our</a:t>
            </a:r>
            <a:r>
              <a:rPr lang="de-DE" baseline="0"/>
              <a:t> </a:t>
            </a:r>
            <a:r>
              <a:rPr lang="de-DE" baseline="0" err="1"/>
              <a:t>project</a:t>
            </a:r>
            <a:r>
              <a:rPr lang="de-DE" baseline="0"/>
              <a:t> </a:t>
            </a:r>
            <a:r>
              <a:rPr lang="de-DE" baseline="0" err="1"/>
              <a:t>group</a:t>
            </a:r>
            <a:r>
              <a:rPr lang="de-DE" baseline="0"/>
              <a:t> </a:t>
            </a:r>
            <a:r>
              <a:rPr lang="de-DE" baseline="0" err="1"/>
              <a:t>belongs</a:t>
            </a:r>
            <a:r>
              <a:rPr lang="de-DE" baseline="0"/>
              <a:t> </a:t>
            </a:r>
            <a:r>
              <a:rPr lang="de-DE" baseline="0" err="1"/>
              <a:t>to</a:t>
            </a:r>
            <a:r>
              <a:rPr lang="de-DE" baseline="0"/>
              <a:t> </a:t>
            </a:r>
            <a:r>
              <a:rPr lang="de-DE" baseline="0" err="1"/>
              <a:t>product</a:t>
            </a:r>
            <a:r>
              <a:rPr lang="de-DE" baseline="0"/>
              <a:t> </a:t>
            </a:r>
            <a:r>
              <a:rPr lang="de-DE" baseline="0" err="1"/>
              <a:t>development</a:t>
            </a:r>
            <a:r>
              <a:rPr lang="de-DE" baseline="0"/>
              <a:t>, </a:t>
            </a:r>
            <a:r>
              <a:rPr lang="de-DE" baseline="0" err="1"/>
              <a:t>directed</a:t>
            </a:r>
            <a:r>
              <a:rPr lang="de-DE" baseline="0"/>
              <a:t> </a:t>
            </a:r>
            <a:r>
              <a:rPr lang="de-DE" baseline="0" err="1"/>
              <a:t>by</a:t>
            </a:r>
            <a:r>
              <a:rPr lang="de-DE" baseline="0"/>
              <a:t> Prof. Dumitrescu.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118F77-BF2E-4843-AA6C-ED9ACCB38B45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7788001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60363" y="431800"/>
            <a:ext cx="6137275" cy="34544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err="1"/>
              <a:t>We</a:t>
            </a:r>
            <a:r>
              <a:rPr lang="de-DE"/>
              <a:t> </a:t>
            </a:r>
            <a:r>
              <a:rPr lang="de-DE" err="1"/>
              <a:t>have</a:t>
            </a:r>
            <a:r>
              <a:rPr lang="de-DE"/>
              <a:t> </a:t>
            </a:r>
            <a:r>
              <a:rPr lang="de-DE" err="1"/>
              <a:t>expertise</a:t>
            </a:r>
            <a:r>
              <a:rPr lang="de-DE"/>
              <a:t> in</a:t>
            </a:r>
            <a:r>
              <a:rPr lang="de-DE" baseline="0"/>
              <a:t> different </a:t>
            </a:r>
            <a:r>
              <a:rPr lang="de-DE" baseline="0" err="1"/>
              <a:t>from</a:t>
            </a:r>
            <a:r>
              <a:rPr lang="de-DE" baseline="0"/>
              <a:t> </a:t>
            </a:r>
            <a:r>
              <a:rPr lang="de-DE" baseline="0" err="1"/>
              <a:t>the</a:t>
            </a:r>
            <a:r>
              <a:rPr lang="de-DE" baseline="0"/>
              <a:t> </a:t>
            </a:r>
            <a:r>
              <a:rPr lang="de-DE" baseline="0" err="1"/>
              <a:t>marked</a:t>
            </a:r>
            <a:r>
              <a:rPr lang="de-DE" baseline="0"/>
              <a:t> </a:t>
            </a:r>
            <a:r>
              <a:rPr lang="de-DE" baseline="0" err="1"/>
              <a:t>demanded</a:t>
            </a:r>
            <a:r>
              <a:rPr lang="de-DE" baseline="0"/>
              <a:t> </a:t>
            </a:r>
            <a:r>
              <a:rPr lang="de-DE" baseline="0" err="1"/>
              <a:t>fields</a:t>
            </a:r>
            <a:r>
              <a:rPr lang="de-DE" baseline="0"/>
              <a:t>.</a:t>
            </a:r>
          </a:p>
          <a:p>
            <a:r>
              <a:rPr lang="de-DE" baseline="0" err="1"/>
              <a:t>And</a:t>
            </a:r>
            <a:r>
              <a:rPr lang="de-DE" baseline="0"/>
              <a:t> </a:t>
            </a:r>
            <a:r>
              <a:rPr lang="de-DE" baseline="0" err="1"/>
              <a:t>we</a:t>
            </a:r>
            <a:r>
              <a:rPr lang="de-DE" baseline="0"/>
              <a:t> </a:t>
            </a:r>
            <a:r>
              <a:rPr lang="de-DE" baseline="0" err="1"/>
              <a:t>adress</a:t>
            </a:r>
            <a:r>
              <a:rPr lang="de-DE" baseline="0"/>
              <a:t> </a:t>
            </a:r>
            <a:r>
              <a:rPr lang="de-DE" baseline="0" err="1"/>
              <a:t>big</a:t>
            </a:r>
            <a:r>
              <a:rPr lang="de-DE" baseline="0"/>
              <a:t> </a:t>
            </a:r>
            <a:r>
              <a:rPr lang="de-DE" baseline="0" err="1"/>
              <a:t>complanies</a:t>
            </a:r>
            <a:r>
              <a:rPr lang="de-DE" baseline="0"/>
              <a:t> like Audi, BMW </a:t>
            </a:r>
            <a:r>
              <a:rPr lang="de-DE" baseline="0" err="1"/>
              <a:t>or</a:t>
            </a:r>
            <a:r>
              <a:rPr lang="de-DE" baseline="0"/>
              <a:t> Miele, but also </a:t>
            </a:r>
            <a:r>
              <a:rPr lang="de-DE" baseline="0" err="1"/>
              <a:t>smaller</a:t>
            </a:r>
            <a:r>
              <a:rPr lang="de-DE" baseline="0"/>
              <a:t> </a:t>
            </a:r>
            <a:r>
              <a:rPr lang="de-DE" baseline="0" err="1"/>
              <a:t>companies</a:t>
            </a:r>
            <a:r>
              <a:rPr lang="de-DE" baseline="0"/>
              <a:t> 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118F77-BF2E-4843-AA6C-ED9ACCB38B45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8598890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60363" y="431800"/>
            <a:ext cx="6137275" cy="34544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28" indent="-171428" defTabSz="914286">
              <a:defRPr/>
            </a:pPr>
            <a:r>
              <a:rPr lang="de-DE"/>
              <a:t>So </a:t>
            </a:r>
            <a:r>
              <a:rPr lang="de-DE" err="1"/>
              <a:t>we</a:t>
            </a:r>
            <a:r>
              <a:rPr lang="de-DE"/>
              <a:t> </a:t>
            </a:r>
            <a:r>
              <a:rPr lang="de-DE" err="1"/>
              <a:t>have</a:t>
            </a:r>
            <a:r>
              <a:rPr lang="de-DE"/>
              <a:t> different </a:t>
            </a:r>
            <a:r>
              <a:rPr lang="de-DE" err="1"/>
              <a:t>stakeholder</a:t>
            </a:r>
            <a:r>
              <a:rPr lang="de-DE" baseline="0"/>
              <a:t> like </a:t>
            </a:r>
            <a:r>
              <a:rPr lang="de-DE" baseline="0" err="1"/>
              <a:t>mechanical</a:t>
            </a:r>
            <a:r>
              <a:rPr lang="de-DE" baseline="0"/>
              <a:t> </a:t>
            </a:r>
            <a:r>
              <a:rPr lang="de-DE" baseline="0" err="1"/>
              <a:t>engineers</a:t>
            </a:r>
            <a:r>
              <a:rPr lang="de-DE" baseline="0"/>
              <a:t>, </a:t>
            </a:r>
            <a:r>
              <a:rPr lang="de-DE" baseline="0" err="1"/>
              <a:t>electrical</a:t>
            </a:r>
            <a:r>
              <a:rPr lang="de-DE" baseline="0"/>
              <a:t> </a:t>
            </a:r>
            <a:r>
              <a:rPr lang="de-DE" baseline="0" err="1"/>
              <a:t>engineers</a:t>
            </a:r>
            <a:r>
              <a:rPr lang="de-DE" baseline="0"/>
              <a:t> </a:t>
            </a:r>
            <a:r>
              <a:rPr lang="de-DE" baseline="0" err="1"/>
              <a:t>and</a:t>
            </a:r>
            <a:r>
              <a:rPr lang="de-DE" baseline="0"/>
              <a:t> </a:t>
            </a:r>
            <a:r>
              <a:rPr lang="de-DE" baseline="0" err="1"/>
              <a:t>software</a:t>
            </a:r>
            <a:r>
              <a:rPr lang="de-DE" baseline="0"/>
              <a:t> </a:t>
            </a:r>
            <a:r>
              <a:rPr lang="de-DE" baseline="0" err="1"/>
              <a:t>developer</a:t>
            </a:r>
            <a:r>
              <a:rPr lang="de-DE" baseline="0"/>
              <a:t>.</a:t>
            </a:r>
          </a:p>
          <a:p>
            <a:pPr marL="171428" indent="-171428" defTabSz="914286">
              <a:defRPr/>
            </a:pPr>
            <a:r>
              <a:rPr lang="de-DE" baseline="0"/>
              <a:t>Every </a:t>
            </a:r>
            <a:r>
              <a:rPr lang="de-DE" baseline="0" err="1"/>
              <a:t>stakeholder</a:t>
            </a:r>
            <a:r>
              <a:rPr lang="de-DE" baseline="0"/>
              <a:t> </a:t>
            </a:r>
            <a:r>
              <a:rPr lang="de-DE" baseline="0" err="1"/>
              <a:t>has</a:t>
            </a:r>
            <a:r>
              <a:rPr lang="de-DE" baseline="0"/>
              <a:t> </a:t>
            </a:r>
            <a:r>
              <a:rPr lang="de-DE" baseline="0" err="1"/>
              <a:t>it‘s</a:t>
            </a:r>
            <a:r>
              <a:rPr lang="de-DE" baseline="0"/>
              <a:t> </a:t>
            </a:r>
            <a:r>
              <a:rPr lang="de-DE" baseline="0" err="1"/>
              <a:t>own</a:t>
            </a:r>
            <a:r>
              <a:rPr lang="de-DE" baseline="0"/>
              <a:t> </a:t>
            </a:r>
            <a:r>
              <a:rPr lang="de-DE" baseline="0" err="1"/>
              <a:t>view</a:t>
            </a:r>
            <a:r>
              <a:rPr lang="de-DE" baseline="0"/>
              <a:t> on </a:t>
            </a:r>
            <a:r>
              <a:rPr lang="de-DE" baseline="0" err="1"/>
              <a:t>the</a:t>
            </a:r>
            <a:r>
              <a:rPr lang="de-DE" baseline="0"/>
              <a:t> </a:t>
            </a:r>
            <a:r>
              <a:rPr lang="de-DE" baseline="0" err="1"/>
              <a:t>to</a:t>
            </a:r>
            <a:r>
              <a:rPr lang="de-DE" baseline="0"/>
              <a:t> </a:t>
            </a:r>
            <a:r>
              <a:rPr lang="de-DE" baseline="0" err="1"/>
              <a:t>be</a:t>
            </a:r>
            <a:r>
              <a:rPr lang="de-DE" baseline="0"/>
              <a:t> </a:t>
            </a:r>
            <a:r>
              <a:rPr lang="de-DE" baseline="0" err="1"/>
              <a:t>designed</a:t>
            </a:r>
            <a:r>
              <a:rPr lang="de-DE" baseline="0"/>
              <a:t> </a:t>
            </a:r>
            <a:r>
              <a:rPr lang="de-DE" baseline="0" err="1"/>
              <a:t>system</a:t>
            </a:r>
            <a:r>
              <a:rPr lang="de-DE" baseline="0"/>
              <a:t>.</a:t>
            </a:r>
          </a:p>
          <a:p>
            <a:pPr marL="171428" indent="-171428" defTabSz="914286">
              <a:defRPr/>
            </a:pPr>
            <a:r>
              <a:rPr lang="de-DE" baseline="0"/>
              <a:t>In </a:t>
            </a:r>
            <a:r>
              <a:rPr lang="de-DE" baseline="0" err="1"/>
              <a:t>order</a:t>
            </a:r>
            <a:r>
              <a:rPr lang="de-DE" baseline="0"/>
              <a:t> </a:t>
            </a:r>
            <a:r>
              <a:rPr lang="de-DE" baseline="0" err="1"/>
              <a:t>to</a:t>
            </a:r>
            <a:r>
              <a:rPr lang="de-DE" baseline="0"/>
              <a:t> </a:t>
            </a:r>
            <a:r>
              <a:rPr lang="de-DE" baseline="0" err="1"/>
              <a:t>work</a:t>
            </a:r>
            <a:r>
              <a:rPr lang="de-DE" baseline="0"/>
              <a:t> </a:t>
            </a:r>
            <a:r>
              <a:rPr lang="de-DE" baseline="0" err="1"/>
              <a:t>them</a:t>
            </a:r>
            <a:r>
              <a:rPr lang="de-DE" baseline="0"/>
              <a:t> all </a:t>
            </a:r>
            <a:r>
              <a:rPr lang="de-DE" baseline="0" err="1"/>
              <a:t>together</a:t>
            </a:r>
            <a:r>
              <a:rPr lang="de-DE" baseline="0"/>
              <a:t>, </a:t>
            </a:r>
            <a:r>
              <a:rPr lang="de-DE" baseline="0" err="1"/>
              <a:t>we</a:t>
            </a:r>
            <a:r>
              <a:rPr lang="de-DE" baseline="0"/>
              <a:t> </a:t>
            </a:r>
            <a:r>
              <a:rPr lang="de-DE" baseline="0" err="1"/>
              <a:t>need</a:t>
            </a:r>
            <a:r>
              <a:rPr lang="de-DE" baseline="0"/>
              <a:t> </a:t>
            </a:r>
            <a:r>
              <a:rPr lang="de-DE" baseline="0" err="1"/>
              <a:t>suited</a:t>
            </a:r>
            <a:r>
              <a:rPr lang="de-DE" baseline="0"/>
              <a:t> </a:t>
            </a:r>
            <a:r>
              <a:rPr lang="de-DE" baseline="0" err="1"/>
              <a:t>approaches</a:t>
            </a:r>
            <a:r>
              <a:rPr lang="de-DE" baseline="0"/>
              <a:t> </a:t>
            </a:r>
            <a:r>
              <a:rPr lang="de-DE" baseline="0" err="1"/>
              <a:t>and</a:t>
            </a:r>
            <a:r>
              <a:rPr lang="de-DE" baseline="0"/>
              <a:t> </a:t>
            </a:r>
            <a:r>
              <a:rPr lang="de-DE" baseline="0" err="1"/>
              <a:t>tools</a:t>
            </a:r>
            <a:r>
              <a:rPr lang="de-DE" baseline="0"/>
              <a:t>.</a:t>
            </a:r>
          </a:p>
          <a:p>
            <a:pPr marL="171428" indent="-171428" defTabSz="914286">
              <a:defRPr/>
            </a:pPr>
            <a:endParaRPr lang="de-DE"/>
          </a:p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118F77-BF2E-4843-AA6C-ED9ACCB38B45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6506180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60363" y="431800"/>
            <a:ext cx="6137275" cy="34544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err="1"/>
              <a:t>We</a:t>
            </a:r>
            <a:r>
              <a:rPr lang="de-DE"/>
              <a:t> </a:t>
            </a:r>
            <a:r>
              <a:rPr lang="de-DE" err="1"/>
              <a:t>analyzed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existing</a:t>
            </a:r>
            <a:r>
              <a:rPr lang="de-DE"/>
              <a:t> </a:t>
            </a:r>
            <a:r>
              <a:rPr lang="de-DE" err="1"/>
              <a:t>approaches</a:t>
            </a:r>
            <a:r>
              <a:rPr lang="de-DE"/>
              <a:t>.</a:t>
            </a:r>
          </a:p>
          <a:p>
            <a:r>
              <a:rPr lang="de-DE"/>
              <a:t>A</a:t>
            </a:r>
            <a:r>
              <a:rPr lang="de-DE" baseline="0"/>
              <a:t> </a:t>
            </a:r>
            <a:r>
              <a:rPr lang="de-DE" baseline="0" err="1"/>
              <a:t>lot</a:t>
            </a:r>
            <a:r>
              <a:rPr lang="de-DE" baseline="0"/>
              <a:t> </a:t>
            </a:r>
            <a:r>
              <a:rPr lang="de-DE" baseline="0" err="1"/>
              <a:t>of</a:t>
            </a:r>
            <a:r>
              <a:rPr lang="de-DE" baseline="0"/>
              <a:t> </a:t>
            </a:r>
            <a:r>
              <a:rPr lang="de-DE" baseline="0" err="1"/>
              <a:t>them</a:t>
            </a:r>
            <a:r>
              <a:rPr lang="de-DE" baseline="0"/>
              <a:t> </a:t>
            </a:r>
            <a:r>
              <a:rPr lang="de-DE" baseline="0" err="1"/>
              <a:t>were</a:t>
            </a:r>
            <a:r>
              <a:rPr lang="de-DE" baseline="0"/>
              <a:t> not digital </a:t>
            </a:r>
            <a:r>
              <a:rPr lang="de-DE" baseline="0" err="1"/>
              <a:t>assisted</a:t>
            </a:r>
            <a:r>
              <a:rPr lang="de-DE" baseline="0"/>
              <a:t>.</a:t>
            </a:r>
          </a:p>
          <a:p>
            <a:r>
              <a:rPr lang="de-DE" baseline="0" err="1"/>
              <a:t>And</a:t>
            </a:r>
            <a:r>
              <a:rPr lang="de-DE" baseline="0"/>
              <a:t> </a:t>
            </a:r>
            <a:r>
              <a:rPr lang="de-DE" baseline="0" err="1"/>
              <a:t>the</a:t>
            </a:r>
            <a:r>
              <a:rPr lang="de-DE" baseline="0"/>
              <a:t> digital </a:t>
            </a:r>
            <a:r>
              <a:rPr lang="de-DE" baseline="0" err="1"/>
              <a:t>assisted</a:t>
            </a:r>
            <a:r>
              <a:rPr lang="de-DE" baseline="0"/>
              <a:t> </a:t>
            </a:r>
            <a:r>
              <a:rPr lang="de-DE" baseline="0" err="1"/>
              <a:t>approaches</a:t>
            </a:r>
            <a:r>
              <a:rPr lang="de-DE" baseline="0"/>
              <a:t> </a:t>
            </a:r>
            <a:r>
              <a:rPr lang="de-DE" baseline="0" err="1"/>
              <a:t>were</a:t>
            </a:r>
            <a:r>
              <a:rPr lang="de-DE" baseline="0"/>
              <a:t> </a:t>
            </a:r>
            <a:r>
              <a:rPr lang="de-DE" baseline="0" err="1"/>
              <a:t>some</a:t>
            </a:r>
            <a:r>
              <a:rPr lang="de-DE" baseline="0"/>
              <a:t> </a:t>
            </a:r>
            <a:r>
              <a:rPr lang="de-DE" baseline="0" err="1"/>
              <a:t>kind</a:t>
            </a:r>
            <a:r>
              <a:rPr lang="de-DE" baseline="0"/>
              <a:t> </a:t>
            </a:r>
            <a:r>
              <a:rPr lang="de-DE" baseline="0" err="1"/>
              <a:t>of</a:t>
            </a:r>
            <a:r>
              <a:rPr lang="de-DE" baseline="0"/>
              <a:t> </a:t>
            </a:r>
            <a:r>
              <a:rPr lang="de-DE" baseline="0" err="1"/>
              <a:t>outdated</a:t>
            </a:r>
            <a:r>
              <a:rPr lang="de-DE" baseline="0"/>
              <a:t> </a:t>
            </a:r>
            <a:r>
              <a:rPr lang="de-DE" baseline="0" err="1"/>
              <a:t>or</a:t>
            </a:r>
            <a:r>
              <a:rPr lang="de-DE" baseline="0"/>
              <a:t> </a:t>
            </a:r>
            <a:r>
              <a:rPr lang="de-DE" baseline="0" err="1"/>
              <a:t>to</a:t>
            </a:r>
            <a:r>
              <a:rPr lang="de-DE" baseline="0"/>
              <a:t> </a:t>
            </a:r>
            <a:r>
              <a:rPr lang="de-DE" baseline="0" err="1"/>
              <a:t>specific</a:t>
            </a:r>
            <a:r>
              <a:rPr lang="de-DE" baseline="0"/>
              <a:t> </a:t>
            </a:r>
            <a:r>
              <a:rPr lang="de-DE" baseline="0" err="1"/>
              <a:t>for</a:t>
            </a:r>
            <a:r>
              <a:rPr lang="de-DE" baseline="0"/>
              <a:t> CPS.</a:t>
            </a:r>
          </a:p>
          <a:p>
            <a:r>
              <a:rPr lang="de-DE" baseline="0" err="1"/>
              <a:t>We</a:t>
            </a:r>
            <a:r>
              <a:rPr lang="de-DE" baseline="0"/>
              <a:t> </a:t>
            </a:r>
            <a:r>
              <a:rPr lang="de-DE" baseline="0" err="1"/>
              <a:t>asked</a:t>
            </a:r>
            <a:r>
              <a:rPr lang="de-DE" baseline="0"/>
              <a:t> </a:t>
            </a:r>
            <a:r>
              <a:rPr lang="de-DE" baseline="0" err="1"/>
              <a:t>us</a:t>
            </a:r>
            <a:r>
              <a:rPr lang="de-DE" baseline="0"/>
              <a:t>:</a:t>
            </a:r>
          </a:p>
          <a:p>
            <a:pPr lvl="1"/>
            <a:r>
              <a:rPr lang="de-DE" baseline="0" err="1"/>
              <a:t>How</a:t>
            </a:r>
            <a:r>
              <a:rPr lang="de-DE" baseline="0"/>
              <a:t> </a:t>
            </a:r>
            <a:r>
              <a:rPr lang="de-DE" baseline="0" err="1"/>
              <a:t>can</a:t>
            </a:r>
            <a:r>
              <a:rPr lang="de-DE" baseline="0"/>
              <a:t> </a:t>
            </a:r>
            <a:r>
              <a:rPr lang="de-DE" baseline="0" err="1"/>
              <a:t>creativity</a:t>
            </a:r>
            <a:r>
              <a:rPr lang="de-DE" baseline="0"/>
              <a:t> an </a:t>
            </a:r>
            <a:r>
              <a:rPr lang="de-DE" baseline="0" err="1"/>
              <a:t>communication</a:t>
            </a:r>
            <a:r>
              <a:rPr lang="de-DE" baseline="0"/>
              <a:t> </a:t>
            </a:r>
            <a:r>
              <a:rPr lang="de-DE" baseline="0" err="1"/>
              <a:t>be</a:t>
            </a:r>
            <a:r>
              <a:rPr lang="de-DE" baseline="0"/>
              <a:t> </a:t>
            </a:r>
            <a:r>
              <a:rPr lang="de-DE" baseline="0" err="1"/>
              <a:t>supported</a:t>
            </a:r>
            <a:r>
              <a:rPr lang="de-DE" baseline="0"/>
              <a:t> </a:t>
            </a:r>
            <a:r>
              <a:rPr lang="de-DE" baseline="0" err="1"/>
              <a:t>by</a:t>
            </a:r>
            <a:r>
              <a:rPr lang="de-DE" baseline="0"/>
              <a:t> </a:t>
            </a:r>
            <a:r>
              <a:rPr lang="de-DE" baseline="0" err="1"/>
              <a:t>the</a:t>
            </a:r>
            <a:r>
              <a:rPr lang="de-DE" baseline="0"/>
              <a:t> </a:t>
            </a:r>
            <a:r>
              <a:rPr lang="de-DE" baseline="0" err="1"/>
              <a:t>use</a:t>
            </a:r>
            <a:r>
              <a:rPr lang="de-DE" baseline="0"/>
              <a:t> </a:t>
            </a:r>
            <a:r>
              <a:rPr lang="de-DE" baseline="0" err="1"/>
              <a:t>of</a:t>
            </a:r>
            <a:r>
              <a:rPr lang="de-DE" baseline="0"/>
              <a:t> </a:t>
            </a:r>
            <a:r>
              <a:rPr lang="de-DE" baseline="0" err="1"/>
              <a:t>new</a:t>
            </a:r>
            <a:r>
              <a:rPr lang="de-DE" baseline="0"/>
              <a:t> </a:t>
            </a:r>
            <a:r>
              <a:rPr lang="de-DE" baseline="0" err="1"/>
              <a:t>technologies</a:t>
            </a:r>
            <a:r>
              <a:rPr lang="de-DE" baseline="0"/>
              <a:t>?</a:t>
            </a:r>
          </a:p>
          <a:p>
            <a:pPr lvl="1"/>
            <a:r>
              <a:rPr lang="de-DE" baseline="0" err="1"/>
              <a:t>How</a:t>
            </a:r>
            <a:r>
              <a:rPr lang="de-DE" baseline="0"/>
              <a:t> </a:t>
            </a:r>
            <a:r>
              <a:rPr lang="de-DE" baseline="0" err="1"/>
              <a:t>can</a:t>
            </a:r>
            <a:r>
              <a:rPr lang="de-DE" baseline="0"/>
              <a:t> AI </a:t>
            </a:r>
            <a:r>
              <a:rPr lang="de-DE" baseline="0" err="1"/>
              <a:t>be</a:t>
            </a:r>
            <a:r>
              <a:rPr lang="de-DE" baseline="0"/>
              <a:t> </a:t>
            </a:r>
            <a:r>
              <a:rPr lang="de-DE" baseline="0" err="1"/>
              <a:t>used</a:t>
            </a:r>
            <a:r>
              <a:rPr lang="de-DE" baseline="0"/>
              <a:t> </a:t>
            </a:r>
            <a:r>
              <a:rPr lang="de-DE" baseline="0" err="1"/>
              <a:t>to</a:t>
            </a:r>
            <a:r>
              <a:rPr lang="de-DE" baseline="0"/>
              <a:t> </a:t>
            </a:r>
            <a:r>
              <a:rPr lang="de-DE" baseline="0" err="1"/>
              <a:t>enhance</a:t>
            </a:r>
            <a:r>
              <a:rPr lang="de-DE" baseline="0"/>
              <a:t> </a:t>
            </a:r>
            <a:r>
              <a:rPr lang="de-DE" baseline="0" err="1"/>
              <a:t>the</a:t>
            </a:r>
            <a:r>
              <a:rPr lang="de-DE" baseline="0"/>
              <a:t> </a:t>
            </a:r>
            <a:r>
              <a:rPr lang="de-DE" baseline="0" err="1"/>
              <a:t>engineering</a:t>
            </a:r>
            <a:r>
              <a:rPr lang="de-DE" baseline="0"/>
              <a:t>?</a:t>
            </a:r>
          </a:p>
          <a:p>
            <a:pPr lvl="1"/>
            <a:r>
              <a:rPr lang="de-DE" baseline="0" err="1"/>
              <a:t>And</a:t>
            </a:r>
            <a:r>
              <a:rPr lang="de-DE" baseline="0"/>
              <a:t> </a:t>
            </a:r>
            <a:r>
              <a:rPr lang="de-DE" baseline="0" err="1"/>
              <a:t>how</a:t>
            </a:r>
            <a:r>
              <a:rPr lang="de-DE" baseline="0"/>
              <a:t> </a:t>
            </a:r>
            <a:r>
              <a:rPr lang="de-DE" baseline="0" err="1"/>
              <a:t>can</a:t>
            </a:r>
            <a:r>
              <a:rPr lang="de-DE" baseline="0"/>
              <a:t> </a:t>
            </a:r>
            <a:r>
              <a:rPr lang="de-DE" baseline="0" err="1"/>
              <a:t>unstructed</a:t>
            </a:r>
            <a:r>
              <a:rPr lang="de-DE" baseline="0"/>
              <a:t> </a:t>
            </a:r>
            <a:r>
              <a:rPr lang="de-DE" baseline="0" err="1"/>
              <a:t>knowledge</a:t>
            </a:r>
            <a:r>
              <a:rPr lang="de-DE" baseline="0"/>
              <a:t> </a:t>
            </a:r>
            <a:r>
              <a:rPr lang="de-DE" baseline="0" err="1"/>
              <a:t>be</a:t>
            </a:r>
            <a:r>
              <a:rPr lang="de-DE" baseline="0"/>
              <a:t> </a:t>
            </a:r>
            <a:r>
              <a:rPr lang="de-DE" baseline="0" err="1"/>
              <a:t>used</a:t>
            </a:r>
            <a:r>
              <a:rPr lang="de-DE" baseline="0"/>
              <a:t> </a:t>
            </a:r>
            <a:r>
              <a:rPr lang="de-DE" baseline="0" err="1"/>
              <a:t>to</a:t>
            </a:r>
            <a:r>
              <a:rPr lang="de-DE" baseline="0"/>
              <a:t> </a:t>
            </a:r>
            <a:r>
              <a:rPr lang="de-DE" baseline="0" err="1"/>
              <a:t>identify</a:t>
            </a:r>
            <a:r>
              <a:rPr lang="de-DE" baseline="0"/>
              <a:t> </a:t>
            </a:r>
            <a:r>
              <a:rPr lang="de-DE" baseline="0" err="1"/>
              <a:t>threats</a:t>
            </a:r>
            <a:r>
              <a:rPr lang="de-DE" baseline="0"/>
              <a:t>?</a:t>
            </a:r>
          </a:p>
          <a:p>
            <a:pPr lvl="1"/>
            <a:endParaRPr lang="de-DE"/>
          </a:p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118F77-BF2E-4843-AA6C-ED9ACCB38B45}" type="slidenum">
              <a:rPr lang="de-DE" smtClean="0"/>
              <a:pPr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885299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60363" y="431800"/>
            <a:ext cx="6137275" cy="34544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baseline="0" err="1"/>
              <a:t>We</a:t>
            </a:r>
            <a:r>
              <a:rPr lang="de-DE" baseline="0"/>
              <a:t> </a:t>
            </a:r>
            <a:r>
              <a:rPr lang="de-DE" baseline="0" err="1"/>
              <a:t>developed</a:t>
            </a:r>
            <a:r>
              <a:rPr lang="de-DE" baseline="0"/>
              <a:t> a </a:t>
            </a:r>
            <a:r>
              <a:rPr lang="de-DE" baseline="0" err="1"/>
              <a:t>tool</a:t>
            </a:r>
            <a:r>
              <a:rPr lang="de-DE" baseline="0"/>
              <a:t> in </a:t>
            </a:r>
            <a:r>
              <a:rPr lang="de-DE" baseline="0" err="1"/>
              <a:t>Unity</a:t>
            </a:r>
            <a:r>
              <a:rPr lang="de-DE" baseline="0"/>
              <a:t>, </a:t>
            </a:r>
            <a:r>
              <a:rPr lang="de-DE" baseline="0" err="1"/>
              <a:t>which</a:t>
            </a:r>
            <a:r>
              <a:rPr lang="de-DE" baseline="0"/>
              <a:t> </a:t>
            </a:r>
            <a:r>
              <a:rPr lang="de-DE" baseline="0" err="1"/>
              <a:t>works</a:t>
            </a:r>
            <a:r>
              <a:rPr lang="de-DE" baseline="0"/>
              <a:t> on different </a:t>
            </a:r>
            <a:r>
              <a:rPr lang="de-DE" baseline="0" err="1"/>
              <a:t>touch</a:t>
            </a:r>
            <a:r>
              <a:rPr lang="de-DE" baseline="0"/>
              <a:t> </a:t>
            </a:r>
            <a:r>
              <a:rPr lang="de-DE" baseline="0" err="1"/>
              <a:t>devices</a:t>
            </a:r>
            <a:r>
              <a:rPr lang="de-DE" baseline="0"/>
              <a:t>.</a:t>
            </a:r>
          </a:p>
          <a:p>
            <a:r>
              <a:rPr lang="de-DE" baseline="0"/>
              <a:t>The </a:t>
            </a:r>
            <a:r>
              <a:rPr lang="de-DE" baseline="0" err="1"/>
              <a:t>tool</a:t>
            </a:r>
            <a:r>
              <a:rPr lang="de-DE" baseline="0"/>
              <a:t> </a:t>
            </a:r>
            <a:r>
              <a:rPr lang="de-DE" baseline="0" err="1"/>
              <a:t>can</a:t>
            </a:r>
            <a:r>
              <a:rPr lang="de-DE" baseline="0"/>
              <a:t> </a:t>
            </a:r>
            <a:r>
              <a:rPr lang="de-DE" baseline="0" err="1"/>
              <a:t>be</a:t>
            </a:r>
            <a:r>
              <a:rPr lang="de-DE" baseline="0"/>
              <a:t> </a:t>
            </a:r>
            <a:r>
              <a:rPr lang="de-DE" baseline="0" err="1"/>
              <a:t>used</a:t>
            </a:r>
            <a:r>
              <a:rPr lang="de-DE" baseline="0"/>
              <a:t> in </a:t>
            </a:r>
            <a:r>
              <a:rPr lang="de-DE" baseline="0" err="1"/>
              <a:t>workshops</a:t>
            </a:r>
            <a:r>
              <a:rPr lang="de-DE" baseline="0"/>
              <a:t> </a:t>
            </a:r>
            <a:r>
              <a:rPr lang="de-DE" baseline="0" err="1"/>
              <a:t>with</a:t>
            </a:r>
            <a:r>
              <a:rPr lang="de-DE" baseline="0"/>
              <a:t> different </a:t>
            </a:r>
            <a:r>
              <a:rPr lang="de-DE" baseline="0" err="1"/>
              <a:t>stakeholders</a:t>
            </a:r>
            <a:r>
              <a:rPr lang="de-DE" baseline="0"/>
              <a:t> </a:t>
            </a:r>
            <a:r>
              <a:rPr lang="de-DE" baseline="0" err="1"/>
              <a:t>to</a:t>
            </a:r>
            <a:r>
              <a:rPr lang="de-DE" baseline="0"/>
              <a:t> </a:t>
            </a:r>
            <a:r>
              <a:rPr lang="de-DE" baseline="0" err="1"/>
              <a:t>get</a:t>
            </a:r>
            <a:r>
              <a:rPr lang="de-DE" baseline="0"/>
              <a:t> a </a:t>
            </a:r>
            <a:r>
              <a:rPr lang="de-DE" baseline="0" err="1"/>
              <a:t>visual</a:t>
            </a:r>
            <a:r>
              <a:rPr lang="de-DE" baseline="0"/>
              <a:t> </a:t>
            </a:r>
            <a:r>
              <a:rPr lang="de-DE" baseline="0" err="1"/>
              <a:t>feeling</a:t>
            </a:r>
            <a:r>
              <a:rPr lang="de-DE" baseline="0"/>
              <a:t> </a:t>
            </a:r>
            <a:r>
              <a:rPr lang="de-DE" baseline="0" err="1"/>
              <a:t>of</a:t>
            </a:r>
            <a:r>
              <a:rPr lang="de-DE" baseline="0"/>
              <a:t> </a:t>
            </a:r>
            <a:r>
              <a:rPr lang="de-DE" baseline="0" err="1"/>
              <a:t>the</a:t>
            </a:r>
            <a:r>
              <a:rPr lang="de-DE" baseline="0"/>
              <a:t> </a:t>
            </a:r>
            <a:r>
              <a:rPr lang="de-DE" baseline="0" err="1"/>
              <a:t>to</a:t>
            </a:r>
            <a:r>
              <a:rPr lang="de-DE" baseline="0"/>
              <a:t> </a:t>
            </a:r>
            <a:r>
              <a:rPr lang="de-DE" baseline="0" err="1"/>
              <a:t>be</a:t>
            </a:r>
            <a:r>
              <a:rPr lang="de-DE" baseline="0"/>
              <a:t> </a:t>
            </a:r>
            <a:r>
              <a:rPr lang="de-DE" baseline="0" err="1"/>
              <a:t>designed</a:t>
            </a:r>
            <a:r>
              <a:rPr lang="de-DE" baseline="0"/>
              <a:t> </a:t>
            </a:r>
            <a:r>
              <a:rPr lang="de-DE" baseline="0" err="1"/>
              <a:t>system</a:t>
            </a:r>
            <a:r>
              <a:rPr lang="de-DE" baseline="0"/>
              <a:t> </a:t>
            </a:r>
            <a:r>
              <a:rPr lang="de-DE" baseline="0" err="1"/>
              <a:t>and</a:t>
            </a:r>
            <a:r>
              <a:rPr lang="de-DE" baseline="0"/>
              <a:t> </a:t>
            </a:r>
            <a:r>
              <a:rPr lang="de-DE" baseline="0" err="1"/>
              <a:t>it‘s</a:t>
            </a:r>
            <a:r>
              <a:rPr lang="de-DE" baseline="0"/>
              <a:t> </a:t>
            </a:r>
            <a:r>
              <a:rPr lang="de-DE" baseline="0" err="1"/>
              <a:t>interacting</a:t>
            </a:r>
            <a:r>
              <a:rPr lang="de-DE" baseline="0"/>
              <a:t> </a:t>
            </a:r>
            <a:r>
              <a:rPr lang="de-DE" baseline="0" err="1"/>
              <a:t>environment</a:t>
            </a:r>
            <a:r>
              <a:rPr lang="de-DE" baseline="0"/>
              <a:t>.</a:t>
            </a:r>
          </a:p>
          <a:p>
            <a:r>
              <a:rPr lang="de-DE" baseline="0" err="1"/>
              <a:t>For</a:t>
            </a:r>
            <a:r>
              <a:rPr lang="de-DE" baseline="0"/>
              <a:t> </a:t>
            </a:r>
            <a:r>
              <a:rPr lang="de-DE" baseline="0" err="1"/>
              <a:t>that</a:t>
            </a:r>
            <a:r>
              <a:rPr lang="de-DE" baseline="0"/>
              <a:t> </a:t>
            </a:r>
            <a:r>
              <a:rPr lang="de-DE" baseline="0" err="1"/>
              <a:t>we</a:t>
            </a:r>
            <a:r>
              <a:rPr lang="de-DE" baseline="0"/>
              <a:t> </a:t>
            </a:r>
            <a:r>
              <a:rPr lang="de-DE" baseline="0" err="1"/>
              <a:t>use</a:t>
            </a:r>
            <a:r>
              <a:rPr lang="de-DE" baseline="0"/>
              <a:t> </a:t>
            </a:r>
            <a:r>
              <a:rPr lang="de-DE" baseline="0" err="1"/>
              <a:t>the</a:t>
            </a:r>
            <a:r>
              <a:rPr lang="de-DE" baseline="0"/>
              <a:t> </a:t>
            </a:r>
            <a:r>
              <a:rPr lang="de-DE" baseline="0" err="1"/>
              <a:t>unity</a:t>
            </a:r>
            <a:r>
              <a:rPr lang="de-DE" baseline="0"/>
              <a:t> </a:t>
            </a:r>
            <a:r>
              <a:rPr lang="de-DE" baseline="0" err="1"/>
              <a:t>asset</a:t>
            </a:r>
            <a:r>
              <a:rPr lang="de-DE" baseline="0"/>
              <a:t> </a:t>
            </a:r>
            <a:r>
              <a:rPr lang="de-DE" baseline="0" err="1"/>
              <a:t>store</a:t>
            </a:r>
            <a:r>
              <a:rPr lang="de-DE" baseline="0"/>
              <a:t> </a:t>
            </a:r>
            <a:r>
              <a:rPr lang="de-DE" baseline="0" err="1"/>
              <a:t>which</a:t>
            </a:r>
            <a:r>
              <a:rPr lang="de-DE" baseline="0"/>
              <a:t> </a:t>
            </a:r>
            <a:r>
              <a:rPr lang="de-DE" baseline="0" err="1"/>
              <a:t>has</a:t>
            </a:r>
            <a:r>
              <a:rPr lang="de-DE" baseline="0"/>
              <a:t> </a:t>
            </a:r>
            <a:r>
              <a:rPr lang="de-DE" baseline="0" err="1"/>
              <a:t>more</a:t>
            </a:r>
            <a:r>
              <a:rPr lang="de-DE" baseline="0"/>
              <a:t> </a:t>
            </a:r>
            <a:r>
              <a:rPr lang="de-DE" baseline="0" err="1"/>
              <a:t>than</a:t>
            </a:r>
            <a:r>
              <a:rPr lang="de-DE" baseline="0"/>
              <a:t> 30000 3D-Models.</a:t>
            </a:r>
          </a:p>
          <a:p>
            <a:endParaRPr lang="de-DE" baseline="0"/>
          </a:p>
          <a:p>
            <a:r>
              <a:rPr lang="de-DE" baseline="0" err="1"/>
              <a:t>You</a:t>
            </a:r>
            <a:r>
              <a:rPr lang="de-DE" baseline="0"/>
              <a:t> </a:t>
            </a:r>
            <a:r>
              <a:rPr lang="de-DE" baseline="0" err="1"/>
              <a:t>can</a:t>
            </a:r>
            <a:r>
              <a:rPr lang="de-DE" baseline="0"/>
              <a:t> </a:t>
            </a:r>
            <a:r>
              <a:rPr lang="de-DE" baseline="0" err="1"/>
              <a:t>play</a:t>
            </a:r>
            <a:r>
              <a:rPr lang="de-DE" baseline="0"/>
              <a:t> </a:t>
            </a:r>
            <a:r>
              <a:rPr lang="de-DE" baseline="0" err="1"/>
              <a:t>arround</a:t>
            </a:r>
            <a:r>
              <a:rPr lang="de-DE" baseline="0"/>
              <a:t> </a:t>
            </a:r>
            <a:r>
              <a:rPr lang="de-DE" baseline="0" err="1"/>
              <a:t>with</a:t>
            </a:r>
            <a:r>
              <a:rPr lang="de-DE" baseline="0"/>
              <a:t> </a:t>
            </a:r>
            <a:r>
              <a:rPr lang="de-DE" baseline="0" err="1"/>
              <a:t>the</a:t>
            </a:r>
            <a:r>
              <a:rPr lang="de-DE" baseline="0"/>
              <a:t> 3D </a:t>
            </a:r>
            <a:r>
              <a:rPr lang="de-DE" baseline="0" err="1"/>
              <a:t>objects</a:t>
            </a:r>
            <a:r>
              <a:rPr lang="de-DE" baseline="0"/>
              <a:t> </a:t>
            </a:r>
            <a:r>
              <a:rPr lang="de-DE" baseline="0" err="1"/>
              <a:t>and</a:t>
            </a:r>
            <a:r>
              <a:rPr lang="de-DE" baseline="0"/>
              <a:t> </a:t>
            </a:r>
            <a:r>
              <a:rPr lang="de-DE" baseline="0" err="1"/>
              <a:t>create</a:t>
            </a:r>
            <a:r>
              <a:rPr lang="de-DE" baseline="0"/>
              <a:t> </a:t>
            </a:r>
            <a:r>
              <a:rPr lang="de-DE" baseline="0" err="1"/>
              <a:t>relationships</a:t>
            </a:r>
            <a:r>
              <a:rPr lang="de-DE" baseline="0"/>
              <a:t> </a:t>
            </a:r>
            <a:r>
              <a:rPr lang="de-DE" baseline="0" err="1"/>
              <a:t>between</a:t>
            </a:r>
            <a:r>
              <a:rPr lang="de-DE" baseline="0"/>
              <a:t> </a:t>
            </a:r>
            <a:r>
              <a:rPr lang="de-DE" baseline="0" err="1"/>
              <a:t>them</a:t>
            </a:r>
            <a:r>
              <a:rPr lang="de-DE" baseline="0"/>
              <a:t>.</a:t>
            </a:r>
          </a:p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118F77-BF2E-4843-AA6C-ED9ACCB38B45}" type="slidenum">
              <a:rPr lang="de-DE" smtClean="0"/>
              <a:pPr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6741500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60363" y="431800"/>
            <a:ext cx="6137275" cy="34544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baseline="0" err="1"/>
              <a:t>Then</a:t>
            </a:r>
            <a:r>
              <a:rPr lang="de-DE" baseline="0"/>
              <a:t> </a:t>
            </a:r>
            <a:r>
              <a:rPr lang="de-DE" baseline="0" err="1"/>
              <a:t>you</a:t>
            </a:r>
            <a:r>
              <a:rPr lang="de-DE" baseline="0"/>
              <a:t> </a:t>
            </a:r>
            <a:r>
              <a:rPr lang="de-DE" baseline="0" err="1"/>
              <a:t>click</a:t>
            </a:r>
            <a:r>
              <a:rPr lang="de-DE" baseline="0"/>
              <a:t> on a </a:t>
            </a:r>
            <a:r>
              <a:rPr lang="de-DE" baseline="0" err="1"/>
              <a:t>button</a:t>
            </a:r>
            <a:r>
              <a:rPr lang="de-DE" baseline="0"/>
              <a:t> </a:t>
            </a:r>
            <a:r>
              <a:rPr lang="de-DE" baseline="0" err="1"/>
              <a:t>and</a:t>
            </a:r>
            <a:r>
              <a:rPr lang="de-DE" baseline="0"/>
              <a:t> a UML </a:t>
            </a:r>
            <a:r>
              <a:rPr lang="de-DE" baseline="0" err="1"/>
              <a:t>model</a:t>
            </a:r>
            <a:r>
              <a:rPr lang="de-DE" baseline="0"/>
              <a:t> </a:t>
            </a:r>
            <a:r>
              <a:rPr lang="de-DE" baseline="0" err="1"/>
              <a:t>for</a:t>
            </a:r>
            <a:r>
              <a:rPr lang="de-DE" baseline="0"/>
              <a:t> </a:t>
            </a:r>
            <a:r>
              <a:rPr lang="de-DE" baseline="0" err="1"/>
              <a:t>systems</a:t>
            </a:r>
            <a:r>
              <a:rPr lang="de-DE" baseline="0"/>
              <a:t> will </a:t>
            </a:r>
            <a:r>
              <a:rPr lang="de-DE" baseline="0" err="1"/>
              <a:t>be</a:t>
            </a:r>
            <a:r>
              <a:rPr lang="de-DE" baseline="0"/>
              <a:t> </a:t>
            </a:r>
            <a:r>
              <a:rPr lang="de-DE" baseline="0" err="1"/>
              <a:t>automatically</a:t>
            </a:r>
            <a:r>
              <a:rPr lang="de-DE" baseline="0"/>
              <a:t> </a:t>
            </a:r>
            <a:r>
              <a:rPr lang="de-DE" baseline="0" err="1"/>
              <a:t>created</a:t>
            </a:r>
            <a:r>
              <a:rPr lang="de-DE" baseline="0"/>
              <a:t>.</a:t>
            </a:r>
          </a:p>
          <a:p>
            <a:r>
              <a:rPr lang="de-DE" baseline="0"/>
              <a:t>So </a:t>
            </a:r>
            <a:r>
              <a:rPr lang="de-DE" baseline="0" err="1"/>
              <a:t>you</a:t>
            </a:r>
            <a:r>
              <a:rPr lang="de-DE" baseline="0"/>
              <a:t> just </a:t>
            </a:r>
            <a:r>
              <a:rPr lang="de-DE" baseline="0" err="1"/>
              <a:t>play</a:t>
            </a:r>
            <a:r>
              <a:rPr lang="de-DE" baseline="0"/>
              <a:t> </a:t>
            </a:r>
            <a:r>
              <a:rPr lang="de-DE" baseline="0" err="1"/>
              <a:t>arround</a:t>
            </a:r>
            <a:r>
              <a:rPr lang="de-DE" baseline="0"/>
              <a:t> in </a:t>
            </a:r>
            <a:r>
              <a:rPr lang="de-DE" baseline="0" err="1"/>
              <a:t>the</a:t>
            </a:r>
            <a:r>
              <a:rPr lang="de-DE" baseline="0"/>
              <a:t> 3D </a:t>
            </a:r>
            <a:r>
              <a:rPr lang="de-DE" baseline="0" err="1"/>
              <a:t>environment</a:t>
            </a:r>
            <a:r>
              <a:rPr lang="de-DE" baseline="0"/>
              <a:t>, but </a:t>
            </a:r>
            <a:r>
              <a:rPr lang="de-DE" baseline="0" err="1"/>
              <a:t>you</a:t>
            </a:r>
            <a:r>
              <a:rPr lang="de-DE" baseline="0"/>
              <a:t> will </a:t>
            </a:r>
            <a:r>
              <a:rPr lang="de-DE" baseline="0" err="1"/>
              <a:t>have</a:t>
            </a:r>
            <a:r>
              <a:rPr lang="de-DE" baseline="0"/>
              <a:t> </a:t>
            </a:r>
            <a:r>
              <a:rPr lang="de-DE" baseline="0" err="1"/>
              <a:t>serious</a:t>
            </a:r>
            <a:r>
              <a:rPr lang="de-DE" baseline="0"/>
              <a:t> </a:t>
            </a:r>
            <a:r>
              <a:rPr lang="de-DE" baseline="0" err="1"/>
              <a:t>results</a:t>
            </a:r>
            <a:r>
              <a:rPr lang="de-DE" baseline="0"/>
              <a:t>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118F77-BF2E-4843-AA6C-ED9ACCB38B45}" type="slidenum">
              <a:rPr lang="de-DE" smtClean="0"/>
              <a:pPr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8524093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60363" y="431800"/>
            <a:ext cx="6137275" cy="34544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err="1"/>
              <a:t>We</a:t>
            </a:r>
            <a:r>
              <a:rPr lang="de-DE"/>
              <a:t> </a:t>
            </a:r>
            <a:r>
              <a:rPr lang="de-DE" err="1"/>
              <a:t>want</a:t>
            </a:r>
            <a:r>
              <a:rPr lang="de-DE" baseline="0"/>
              <a:t> 7 </a:t>
            </a:r>
            <a:r>
              <a:rPr lang="de-DE" baseline="0" err="1"/>
              <a:t>seven</a:t>
            </a:r>
            <a:r>
              <a:rPr lang="de-DE" baseline="0"/>
              <a:t> </a:t>
            </a:r>
            <a:r>
              <a:rPr lang="de-DE" baseline="0" err="1"/>
              <a:t>of</a:t>
            </a:r>
            <a:r>
              <a:rPr lang="de-DE" baseline="0"/>
              <a:t> </a:t>
            </a:r>
            <a:r>
              <a:rPr lang="de-DE" baseline="0" err="1"/>
              <a:t>you</a:t>
            </a:r>
            <a:r>
              <a:rPr lang="de-DE" baseline="0"/>
              <a:t>, </a:t>
            </a:r>
            <a:r>
              <a:rPr lang="de-DE" baseline="0" err="1"/>
              <a:t>to</a:t>
            </a:r>
            <a:r>
              <a:rPr lang="de-DE" baseline="0"/>
              <a:t> </a:t>
            </a:r>
            <a:r>
              <a:rPr lang="de-DE" baseline="0" err="1"/>
              <a:t>extend</a:t>
            </a:r>
            <a:r>
              <a:rPr lang="de-DE" baseline="0"/>
              <a:t> </a:t>
            </a:r>
            <a:r>
              <a:rPr lang="de-DE" baseline="0" err="1"/>
              <a:t>our</a:t>
            </a:r>
            <a:r>
              <a:rPr lang="de-DE" baseline="0"/>
              <a:t> </a:t>
            </a:r>
            <a:r>
              <a:rPr lang="de-DE" baseline="0" err="1"/>
              <a:t>vision</a:t>
            </a:r>
            <a:r>
              <a:rPr lang="de-DE" baseline="0"/>
              <a:t>.</a:t>
            </a:r>
          </a:p>
          <a:p>
            <a:r>
              <a:rPr lang="de-DE" baseline="0"/>
              <a:t>The </a:t>
            </a:r>
            <a:r>
              <a:rPr lang="de-DE" baseline="0" err="1"/>
              <a:t>goals</a:t>
            </a:r>
            <a:r>
              <a:rPr lang="de-DE" baseline="0"/>
              <a:t> </a:t>
            </a:r>
            <a:r>
              <a:rPr lang="de-DE" baseline="0" err="1"/>
              <a:t>of</a:t>
            </a:r>
            <a:r>
              <a:rPr lang="de-DE" baseline="0"/>
              <a:t> </a:t>
            </a:r>
            <a:r>
              <a:rPr lang="de-DE" baseline="0" err="1"/>
              <a:t>the</a:t>
            </a:r>
            <a:r>
              <a:rPr lang="de-DE" baseline="0"/>
              <a:t> </a:t>
            </a:r>
            <a:r>
              <a:rPr lang="de-DE" baseline="0" err="1"/>
              <a:t>project</a:t>
            </a:r>
            <a:r>
              <a:rPr lang="de-DE" baseline="0"/>
              <a:t> </a:t>
            </a:r>
            <a:r>
              <a:rPr lang="de-DE" baseline="0" err="1"/>
              <a:t>group</a:t>
            </a:r>
            <a:r>
              <a:rPr lang="de-DE" baseline="0"/>
              <a:t> </a:t>
            </a:r>
            <a:r>
              <a:rPr lang="de-DE" baseline="0" err="1"/>
              <a:t>are</a:t>
            </a:r>
            <a:r>
              <a:rPr lang="de-DE" baseline="0"/>
              <a:t>: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118F77-BF2E-4843-AA6C-ED9ACCB38B45}" type="slidenum">
              <a:rPr lang="de-DE" smtClean="0"/>
              <a:pPr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4707831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60363" y="431800"/>
            <a:ext cx="6137275" cy="34544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sz="120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DA5471-CC57-402A-9527-36A1D012F698}" type="slidenum">
              <a:rPr lang="de-DE" noProof="0" smtClean="0"/>
              <a:t>11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39220881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w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w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wmf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6.jpeg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PRÄSENTATIONS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Bildplatzhalter">
            <a:extLst>
              <a:ext uri="{FF2B5EF4-FFF2-40B4-BE49-F238E27FC236}">
                <a16:creationId xmlns:a16="http://schemas.microsoft.com/office/drawing/2014/main" id="{936E88EA-150F-4333-8A2A-F2C2ECF6CE00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 bwMode="gray">
          <a:xfrm>
            <a:off x="0" y="0"/>
            <a:ext cx="8126935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23" name="Textplatzhalter 1">
            <a:extLst>
              <a:ext uri="{FF2B5EF4-FFF2-40B4-BE49-F238E27FC236}">
                <a16:creationId xmlns:a16="http://schemas.microsoft.com/office/drawing/2014/main" id="{8D2CBA0F-97DF-48E5-842F-6E8E05278B5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875667" y="1414800"/>
            <a:ext cx="6709403" cy="2160000"/>
          </a:xfrm>
        </p:spPr>
        <p:txBody>
          <a:bodyPr anchor="b" anchorCtr="0"/>
          <a:lstStyle>
            <a:lvl1pPr marL="0" indent="0" algn="r">
              <a:buNone/>
              <a:defRPr sz="40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Titel der Präsentation bearbeiten. Ich kann maximal 4 Zeilen </a:t>
            </a:r>
            <a:br>
              <a:rPr lang="de-DE"/>
            </a:br>
            <a:r>
              <a:rPr lang="de-DE"/>
              <a:t>lang sein.</a:t>
            </a:r>
          </a:p>
        </p:txBody>
      </p:sp>
      <p:sp>
        <p:nvSpPr>
          <p:cNvPr id="24" name="Textplatzhalter 2">
            <a:extLst>
              <a:ext uri="{FF2B5EF4-FFF2-40B4-BE49-F238E27FC236}">
                <a16:creationId xmlns:a16="http://schemas.microsoft.com/office/drawing/2014/main" id="{D86B8419-35DC-4837-9419-135851D0198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875667" y="3735000"/>
            <a:ext cx="6709403" cy="594000"/>
          </a:xfrm>
        </p:spPr>
        <p:txBody>
          <a:bodyPr anchor="t" anchorCtr="0"/>
          <a:lstStyle>
            <a:lvl1pPr marL="0" indent="0" algn="r">
              <a:spcAft>
                <a:spcPts val="0"/>
              </a:spcAft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Vornamen Name</a:t>
            </a:r>
            <a:br>
              <a:rPr lang="de-DE"/>
            </a:br>
            <a:r>
              <a:rPr lang="de-DE"/>
              <a:t>Mainz | 05.06.2019</a:t>
            </a:r>
          </a:p>
        </p:txBody>
      </p:sp>
      <p:grpSp>
        <p:nvGrpSpPr>
          <p:cNvPr id="5" name="Logo">
            <a:extLst>
              <a:ext uri="{FF2B5EF4-FFF2-40B4-BE49-F238E27FC236}">
                <a16:creationId xmlns:a16="http://schemas.microsoft.com/office/drawing/2014/main" id="{360212B1-6B64-4A0D-8A8A-5C278BEC4C9A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8668800" y="2528995"/>
            <a:ext cx="2645946" cy="720011"/>
            <a:chOff x="8928367" y="5201993"/>
            <a:chExt cx="1767157" cy="480876"/>
          </a:xfrm>
        </p:grpSpPr>
        <p:sp>
          <p:nvSpPr>
            <p:cNvPr id="6" name="Freihandform: Form 5">
              <a:extLst>
                <a:ext uri="{FF2B5EF4-FFF2-40B4-BE49-F238E27FC236}">
                  <a16:creationId xmlns:a16="http://schemas.microsoft.com/office/drawing/2014/main" id="{F8D65C5E-CA51-478F-9C8A-88B192BA445C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928369" y="5287265"/>
              <a:ext cx="284229" cy="200121"/>
            </a:xfrm>
            <a:custGeom>
              <a:avLst/>
              <a:gdLst>
                <a:gd name="connsiteX0" fmla="*/ 0 w 933450"/>
                <a:gd name="connsiteY0" fmla="*/ 665798 h 657225"/>
                <a:gd name="connsiteX1" fmla="*/ 941070 w 933450"/>
                <a:gd name="connsiteY1" fmla="*/ 91440 h 657225"/>
                <a:gd name="connsiteX2" fmla="*/ 941070 w 933450"/>
                <a:gd name="connsiteY2" fmla="*/ 0 h 657225"/>
                <a:gd name="connsiteX3" fmla="*/ 0 w 933450"/>
                <a:gd name="connsiteY3" fmla="*/ 522923 h 657225"/>
                <a:gd name="connsiteX4" fmla="*/ 0 w 933450"/>
                <a:gd name="connsiteY4" fmla="*/ 665798 h 657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3450" h="657225">
                  <a:moveTo>
                    <a:pt x="0" y="665798"/>
                  </a:moveTo>
                  <a:cubicBezTo>
                    <a:pt x="223838" y="550545"/>
                    <a:pt x="551498" y="363855"/>
                    <a:pt x="941070" y="91440"/>
                  </a:cubicBezTo>
                  <a:lnTo>
                    <a:pt x="941070" y="0"/>
                  </a:lnTo>
                  <a:cubicBezTo>
                    <a:pt x="598170" y="223838"/>
                    <a:pt x="250508" y="403860"/>
                    <a:pt x="0" y="522923"/>
                  </a:cubicBezTo>
                  <a:lnTo>
                    <a:pt x="0" y="665798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/>
            </a:p>
          </p:txBody>
        </p:sp>
        <p:sp>
          <p:nvSpPr>
            <p:cNvPr id="7" name="Freihandform: Form 6">
              <a:extLst>
                <a:ext uri="{FF2B5EF4-FFF2-40B4-BE49-F238E27FC236}">
                  <a16:creationId xmlns:a16="http://schemas.microsoft.com/office/drawing/2014/main" id="{25BF9BE3-B826-47D1-9783-345AAB305D2B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928369" y="5252171"/>
              <a:ext cx="284229" cy="153716"/>
            </a:xfrm>
            <a:custGeom>
              <a:avLst/>
              <a:gdLst>
                <a:gd name="connsiteX0" fmla="*/ 0 w 933450"/>
                <a:gd name="connsiteY0" fmla="*/ 507683 h 504825"/>
                <a:gd name="connsiteX1" fmla="*/ 941070 w 933450"/>
                <a:gd name="connsiteY1" fmla="*/ 44768 h 504825"/>
                <a:gd name="connsiteX2" fmla="*/ 941070 w 933450"/>
                <a:gd name="connsiteY2" fmla="*/ 0 h 504825"/>
                <a:gd name="connsiteX3" fmla="*/ 0 w 933450"/>
                <a:gd name="connsiteY3" fmla="*/ 322898 h 504825"/>
                <a:gd name="connsiteX4" fmla="*/ 0 w 933450"/>
                <a:gd name="connsiteY4" fmla="*/ 507683 h 504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3450" h="504825">
                  <a:moveTo>
                    <a:pt x="0" y="507683"/>
                  </a:moveTo>
                  <a:cubicBezTo>
                    <a:pt x="249555" y="405765"/>
                    <a:pt x="598170" y="249555"/>
                    <a:pt x="941070" y="44768"/>
                  </a:cubicBezTo>
                  <a:lnTo>
                    <a:pt x="941070" y="0"/>
                  </a:lnTo>
                  <a:cubicBezTo>
                    <a:pt x="618173" y="160020"/>
                    <a:pt x="282893" y="260033"/>
                    <a:pt x="0" y="322898"/>
                  </a:cubicBezTo>
                  <a:lnTo>
                    <a:pt x="0" y="507683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/>
            </a:p>
          </p:txBody>
        </p:sp>
        <p:sp>
          <p:nvSpPr>
            <p:cNvPr id="8" name="Freihandform: Form 7">
              <a:extLst>
                <a:ext uri="{FF2B5EF4-FFF2-40B4-BE49-F238E27FC236}">
                  <a16:creationId xmlns:a16="http://schemas.microsoft.com/office/drawing/2014/main" id="{695D6B0C-9439-4570-8DCC-39751E82C2E0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30749" y="5349912"/>
              <a:ext cx="182719" cy="139214"/>
            </a:xfrm>
            <a:custGeom>
              <a:avLst/>
              <a:gdLst>
                <a:gd name="connsiteX0" fmla="*/ 604838 w 600075"/>
                <a:gd name="connsiteY0" fmla="*/ 460058 h 457200"/>
                <a:gd name="connsiteX1" fmla="*/ 604838 w 600075"/>
                <a:gd name="connsiteY1" fmla="*/ 0 h 457200"/>
                <a:gd name="connsiteX2" fmla="*/ 0 w 600075"/>
                <a:gd name="connsiteY2" fmla="*/ 460058 h 457200"/>
                <a:gd name="connsiteX3" fmla="*/ 604838 w 600075"/>
                <a:gd name="connsiteY3" fmla="*/ 460058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0075" h="457200">
                  <a:moveTo>
                    <a:pt x="604838" y="460058"/>
                  </a:moveTo>
                  <a:lnTo>
                    <a:pt x="604838" y="0"/>
                  </a:lnTo>
                  <a:cubicBezTo>
                    <a:pt x="390525" y="180975"/>
                    <a:pt x="178118" y="337185"/>
                    <a:pt x="0" y="460058"/>
                  </a:cubicBezTo>
                  <a:lnTo>
                    <a:pt x="604838" y="460058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/>
            </a:p>
          </p:txBody>
        </p:sp>
        <p:sp>
          <p:nvSpPr>
            <p:cNvPr id="9" name="Freihandform: Form 8">
              <a:extLst>
                <a:ext uri="{FF2B5EF4-FFF2-40B4-BE49-F238E27FC236}">
                  <a16:creationId xmlns:a16="http://schemas.microsoft.com/office/drawing/2014/main" id="{BF140B21-13A0-4198-BBDD-8895929F20AF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955052" y="5321779"/>
              <a:ext cx="258127" cy="168217"/>
            </a:xfrm>
            <a:custGeom>
              <a:avLst/>
              <a:gdLst>
                <a:gd name="connsiteX0" fmla="*/ 128588 w 847725"/>
                <a:gd name="connsiteY0" fmla="*/ 552450 h 552450"/>
                <a:gd name="connsiteX1" fmla="*/ 707708 w 847725"/>
                <a:gd name="connsiteY1" fmla="*/ 167640 h 552450"/>
                <a:gd name="connsiteX2" fmla="*/ 853440 w 847725"/>
                <a:gd name="connsiteY2" fmla="*/ 57150 h 552450"/>
                <a:gd name="connsiteX3" fmla="*/ 853440 w 847725"/>
                <a:gd name="connsiteY3" fmla="*/ 0 h 552450"/>
                <a:gd name="connsiteX4" fmla="*/ 0 w 847725"/>
                <a:gd name="connsiteY4" fmla="*/ 552450 h 552450"/>
                <a:gd name="connsiteX5" fmla="*/ 128588 w 847725"/>
                <a:gd name="connsiteY5" fmla="*/ 552450 h 552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47725" h="552450">
                  <a:moveTo>
                    <a:pt x="128588" y="552450"/>
                  </a:moveTo>
                  <a:cubicBezTo>
                    <a:pt x="298133" y="452438"/>
                    <a:pt x="502920" y="320993"/>
                    <a:pt x="707708" y="167640"/>
                  </a:cubicBezTo>
                  <a:cubicBezTo>
                    <a:pt x="755333" y="131445"/>
                    <a:pt x="803910" y="95250"/>
                    <a:pt x="853440" y="57150"/>
                  </a:cubicBezTo>
                  <a:lnTo>
                    <a:pt x="853440" y="0"/>
                  </a:lnTo>
                  <a:cubicBezTo>
                    <a:pt x="550545" y="226695"/>
                    <a:pt x="241935" y="416243"/>
                    <a:pt x="0" y="552450"/>
                  </a:cubicBezTo>
                  <a:lnTo>
                    <a:pt x="128588" y="55245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/>
            </a:p>
          </p:txBody>
        </p:sp>
        <p:sp>
          <p:nvSpPr>
            <p:cNvPr id="10" name="Freihandform: Form 9">
              <a:extLst>
                <a:ext uri="{FF2B5EF4-FFF2-40B4-BE49-F238E27FC236}">
                  <a16:creationId xmlns:a16="http://schemas.microsoft.com/office/drawing/2014/main" id="{3033533B-630E-49CA-8EC9-9C9AB3D040B0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928369" y="5225489"/>
              <a:ext cx="284229" cy="101511"/>
            </a:xfrm>
            <a:custGeom>
              <a:avLst/>
              <a:gdLst>
                <a:gd name="connsiteX0" fmla="*/ 0 w 933450"/>
                <a:gd name="connsiteY0" fmla="*/ 342900 h 333375"/>
                <a:gd name="connsiteX1" fmla="*/ 941070 w 933450"/>
                <a:gd name="connsiteY1" fmla="*/ 50482 h 333375"/>
                <a:gd name="connsiteX2" fmla="*/ 941070 w 933450"/>
                <a:gd name="connsiteY2" fmla="*/ 0 h 333375"/>
                <a:gd name="connsiteX3" fmla="*/ 0 w 933450"/>
                <a:gd name="connsiteY3" fmla="*/ 234315 h 333375"/>
                <a:gd name="connsiteX4" fmla="*/ 0 w 933450"/>
                <a:gd name="connsiteY4" fmla="*/ 342900 h 333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3450" h="333375">
                  <a:moveTo>
                    <a:pt x="0" y="342900"/>
                  </a:moveTo>
                  <a:cubicBezTo>
                    <a:pt x="275273" y="294323"/>
                    <a:pt x="612458" y="207645"/>
                    <a:pt x="941070" y="50482"/>
                  </a:cubicBezTo>
                  <a:lnTo>
                    <a:pt x="941070" y="0"/>
                  </a:lnTo>
                  <a:cubicBezTo>
                    <a:pt x="609600" y="148590"/>
                    <a:pt x="277178" y="212408"/>
                    <a:pt x="0" y="234315"/>
                  </a:cubicBezTo>
                  <a:lnTo>
                    <a:pt x="0" y="34290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/>
            </a:p>
          </p:txBody>
        </p:sp>
        <p:sp>
          <p:nvSpPr>
            <p:cNvPr id="11" name="Freihandform: Form 10">
              <a:extLst>
                <a:ext uri="{FF2B5EF4-FFF2-40B4-BE49-F238E27FC236}">
                  <a16:creationId xmlns:a16="http://schemas.microsoft.com/office/drawing/2014/main" id="{86009DBA-F962-4FD6-B6F2-CECFC2593B16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928369" y="5201993"/>
              <a:ext cx="284229" cy="78308"/>
            </a:xfrm>
            <a:custGeom>
              <a:avLst/>
              <a:gdLst>
                <a:gd name="connsiteX0" fmla="*/ 0 w 933450"/>
                <a:gd name="connsiteY0" fmla="*/ 0 h 257175"/>
                <a:gd name="connsiteX1" fmla="*/ 0 w 933450"/>
                <a:gd name="connsiteY1" fmla="*/ 263843 h 257175"/>
                <a:gd name="connsiteX2" fmla="*/ 62865 w 933450"/>
                <a:gd name="connsiteY2" fmla="*/ 259080 h 257175"/>
                <a:gd name="connsiteX3" fmla="*/ 941070 w 933450"/>
                <a:gd name="connsiteY3" fmla="*/ 55245 h 257175"/>
                <a:gd name="connsiteX4" fmla="*/ 941070 w 933450"/>
                <a:gd name="connsiteY4" fmla="*/ 0 h 257175"/>
                <a:gd name="connsiteX5" fmla="*/ 0 w 933450"/>
                <a:gd name="connsiteY5" fmla="*/ 0 h 257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33450" h="257175">
                  <a:moveTo>
                    <a:pt x="0" y="0"/>
                  </a:moveTo>
                  <a:lnTo>
                    <a:pt x="0" y="263843"/>
                  </a:lnTo>
                  <a:cubicBezTo>
                    <a:pt x="20955" y="262890"/>
                    <a:pt x="41910" y="260985"/>
                    <a:pt x="62865" y="259080"/>
                  </a:cubicBezTo>
                  <a:cubicBezTo>
                    <a:pt x="291465" y="240983"/>
                    <a:pt x="603885" y="200978"/>
                    <a:pt x="941070" y="55245"/>
                  </a:cubicBezTo>
                  <a:lnTo>
                    <a:pt x="94107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/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879FF8E8-B89E-47DC-A234-9C0E71349627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928369" y="5218815"/>
              <a:ext cx="284229" cy="75408"/>
            </a:xfrm>
            <a:custGeom>
              <a:avLst/>
              <a:gdLst>
                <a:gd name="connsiteX0" fmla="*/ 0 w 933450"/>
                <a:gd name="connsiteY0" fmla="*/ 208598 h 247650"/>
                <a:gd name="connsiteX1" fmla="*/ 0 w 933450"/>
                <a:gd name="connsiteY1" fmla="*/ 257175 h 247650"/>
                <a:gd name="connsiteX2" fmla="*/ 941070 w 933450"/>
                <a:gd name="connsiteY2" fmla="*/ 22860 h 247650"/>
                <a:gd name="connsiteX3" fmla="*/ 941070 w 933450"/>
                <a:gd name="connsiteY3" fmla="*/ 0 h 247650"/>
                <a:gd name="connsiteX4" fmla="*/ 62865 w 933450"/>
                <a:gd name="connsiteY4" fmla="*/ 203835 h 247650"/>
                <a:gd name="connsiteX5" fmla="*/ 0 w 933450"/>
                <a:gd name="connsiteY5" fmla="*/ 208598 h 247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33450" h="247650">
                  <a:moveTo>
                    <a:pt x="0" y="208598"/>
                  </a:moveTo>
                  <a:lnTo>
                    <a:pt x="0" y="257175"/>
                  </a:lnTo>
                  <a:cubicBezTo>
                    <a:pt x="277178" y="234315"/>
                    <a:pt x="609600" y="171450"/>
                    <a:pt x="941070" y="22860"/>
                  </a:cubicBezTo>
                  <a:lnTo>
                    <a:pt x="941070" y="0"/>
                  </a:lnTo>
                  <a:cubicBezTo>
                    <a:pt x="603885" y="145733"/>
                    <a:pt x="291465" y="186690"/>
                    <a:pt x="62865" y="203835"/>
                  </a:cubicBezTo>
                  <a:cubicBezTo>
                    <a:pt x="41910" y="205740"/>
                    <a:pt x="20955" y="206693"/>
                    <a:pt x="0" y="208598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/>
            </a:p>
          </p:txBody>
        </p:sp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E7B34A90-55A3-40F8-A2C8-7558849C35B9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928369" y="5241150"/>
              <a:ext cx="284229" cy="107311"/>
            </a:xfrm>
            <a:custGeom>
              <a:avLst/>
              <a:gdLst>
                <a:gd name="connsiteX0" fmla="*/ 0 w 933450"/>
                <a:gd name="connsiteY0" fmla="*/ 359093 h 352425"/>
                <a:gd name="connsiteX1" fmla="*/ 941070 w 933450"/>
                <a:gd name="connsiteY1" fmla="*/ 36195 h 352425"/>
                <a:gd name="connsiteX2" fmla="*/ 941070 w 933450"/>
                <a:gd name="connsiteY2" fmla="*/ 0 h 352425"/>
                <a:gd name="connsiteX3" fmla="*/ 0 w 933450"/>
                <a:gd name="connsiteY3" fmla="*/ 291465 h 352425"/>
                <a:gd name="connsiteX4" fmla="*/ 0 w 933450"/>
                <a:gd name="connsiteY4" fmla="*/ 359093 h 352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3450" h="352425">
                  <a:moveTo>
                    <a:pt x="0" y="359093"/>
                  </a:moveTo>
                  <a:cubicBezTo>
                    <a:pt x="282893" y="296228"/>
                    <a:pt x="618173" y="196215"/>
                    <a:pt x="941070" y="36195"/>
                  </a:cubicBezTo>
                  <a:lnTo>
                    <a:pt x="941070" y="0"/>
                  </a:lnTo>
                  <a:cubicBezTo>
                    <a:pt x="612458" y="156210"/>
                    <a:pt x="275273" y="243840"/>
                    <a:pt x="0" y="291465"/>
                  </a:cubicBezTo>
                  <a:lnTo>
                    <a:pt x="0" y="359093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/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:a16="http://schemas.microsoft.com/office/drawing/2014/main" id="{9FDBD7EC-A3FD-470E-A749-4A922CD0EE74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928367" y="5265805"/>
              <a:ext cx="284229" cy="179819"/>
            </a:xfrm>
            <a:custGeom>
              <a:avLst/>
              <a:gdLst>
                <a:gd name="connsiteX0" fmla="*/ 0 w 933450"/>
                <a:gd name="connsiteY0" fmla="*/ 593408 h 590550"/>
                <a:gd name="connsiteX1" fmla="*/ 941070 w 933450"/>
                <a:gd name="connsiteY1" fmla="*/ 70485 h 590550"/>
                <a:gd name="connsiteX2" fmla="*/ 941070 w 933450"/>
                <a:gd name="connsiteY2" fmla="*/ 0 h 590550"/>
                <a:gd name="connsiteX3" fmla="*/ 0 w 933450"/>
                <a:gd name="connsiteY3" fmla="*/ 462915 h 590550"/>
                <a:gd name="connsiteX4" fmla="*/ 0 w 933450"/>
                <a:gd name="connsiteY4" fmla="*/ 593408 h 590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3450" h="590550">
                  <a:moveTo>
                    <a:pt x="0" y="593408"/>
                  </a:moveTo>
                  <a:cubicBezTo>
                    <a:pt x="250508" y="474345"/>
                    <a:pt x="598170" y="294323"/>
                    <a:pt x="941070" y="70485"/>
                  </a:cubicBezTo>
                  <a:lnTo>
                    <a:pt x="941070" y="0"/>
                  </a:lnTo>
                  <a:cubicBezTo>
                    <a:pt x="598170" y="204788"/>
                    <a:pt x="249555" y="360998"/>
                    <a:pt x="0" y="462915"/>
                  </a:cubicBezTo>
                  <a:lnTo>
                    <a:pt x="0" y="593408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/>
            </a:p>
          </p:txBody>
        </p:sp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id="{76E62461-DA31-4EDE-9311-E8F7B39F0E02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994204" y="5339182"/>
              <a:ext cx="220423" cy="150816"/>
            </a:xfrm>
            <a:custGeom>
              <a:avLst/>
              <a:gdLst>
                <a:gd name="connsiteX0" fmla="*/ 0 w 723900"/>
                <a:gd name="connsiteY0" fmla="*/ 495300 h 495300"/>
                <a:gd name="connsiteX1" fmla="*/ 120015 w 723900"/>
                <a:gd name="connsiteY1" fmla="*/ 495300 h 495300"/>
                <a:gd name="connsiteX2" fmla="*/ 724853 w 723900"/>
                <a:gd name="connsiteY2" fmla="*/ 35243 h 495300"/>
                <a:gd name="connsiteX3" fmla="*/ 724853 w 723900"/>
                <a:gd name="connsiteY3" fmla="*/ 0 h 495300"/>
                <a:gd name="connsiteX4" fmla="*/ 579120 w 723900"/>
                <a:gd name="connsiteY4" fmla="*/ 110490 h 495300"/>
                <a:gd name="connsiteX5" fmla="*/ 0 w 723900"/>
                <a:gd name="connsiteY5" fmla="*/ 495300 h 495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23900" h="495300">
                  <a:moveTo>
                    <a:pt x="0" y="495300"/>
                  </a:moveTo>
                  <a:lnTo>
                    <a:pt x="120015" y="495300"/>
                  </a:lnTo>
                  <a:cubicBezTo>
                    <a:pt x="298133" y="372428"/>
                    <a:pt x="510540" y="216218"/>
                    <a:pt x="724853" y="35243"/>
                  </a:cubicBezTo>
                  <a:lnTo>
                    <a:pt x="724853" y="0"/>
                  </a:lnTo>
                  <a:cubicBezTo>
                    <a:pt x="675323" y="38100"/>
                    <a:pt x="626745" y="75248"/>
                    <a:pt x="579120" y="110490"/>
                  </a:cubicBezTo>
                  <a:cubicBezTo>
                    <a:pt x="374333" y="263843"/>
                    <a:pt x="169545" y="395288"/>
                    <a:pt x="0" y="495300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/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FD0F133E-F0D8-4C1F-B109-EAF52A7C2F33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928368" y="5315110"/>
              <a:ext cx="284229" cy="174018"/>
            </a:xfrm>
            <a:custGeom>
              <a:avLst/>
              <a:gdLst>
                <a:gd name="connsiteX0" fmla="*/ 0 w 933450"/>
                <a:gd name="connsiteY0" fmla="*/ 574358 h 571500"/>
                <a:gd name="connsiteX1" fmla="*/ 87630 w 933450"/>
                <a:gd name="connsiteY1" fmla="*/ 574358 h 571500"/>
                <a:gd name="connsiteX2" fmla="*/ 941070 w 933450"/>
                <a:gd name="connsiteY2" fmla="*/ 21907 h 571500"/>
                <a:gd name="connsiteX3" fmla="*/ 941070 w 933450"/>
                <a:gd name="connsiteY3" fmla="*/ 0 h 571500"/>
                <a:gd name="connsiteX4" fmla="*/ 0 w 933450"/>
                <a:gd name="connsiteY4" fmla="*/ 574358 h 571500"/>
                <a:gd name="connsiteX5" fmla="*/ 0 w 933450"/>
                <a:gd name="connsiteY5" fmla="*/ 574358 h 571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33450" h="571500">
                  <a:moveTo>
                    <a:pt x="0" y="574358"/>
                  </a:moveTo>
                  <a:lnTo>
                    <a:pt x="87630" y="574358"/>
                  </a:lnTo>
                  <a:cubicBezTo>
                    <a:pt x="329565" y="438150"/>
                    <a:pt x="638175" y="248602"/>
                    <a:pt x="941070" y="21907"/>
                  </a:cubicBezTo>
                  <a:lnTo>
                    <a:pt x="941070" y="0"/>
                  </a:lnTo>
                  <a:cubicBezTo>
                    <a:pt x="551498" y="272415"/>
                    <a:pt x="223838" y="459105"/>
                    <a:pt x="0" y="574358"/>
                  </a:cubicBezTo>
                  <a:lnTo>
                    <a:pt x="0" y="574358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/>
            </a:p>
          </p:txBody>
        </p:sp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74DC2E56-9628-4E86-9F6B-600046F44EE3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311496" y="5280309"/>
              <a:ext cx="1383443" cy="211722"/>
            </a:xfrm>
            <a:custGeom>
              <a:avLst/>
              <a:gdLst>
                <a:gd name="connsiteX0" fmla="*/ 4272915 w 4543425"/>
                <a:gd name="connsiteY0" fmla="*/ 688658 h 695325"/>
                <a:gd name="connsiteX1" fmla="*/ 4393883 w 4543425"/>
                <a:gd name="connsiteY1" fmla="*/ 688658 h 695325"/>
                <a:gd name="connsiteX2" fmla="*/ 4393883 w 4543425"/>
                <a:gd name="connsiteY2" fmla="*/ 517208 h 695325"/>
                <a:gd name="connsiteX3" fmla="*/ 4491990 w 4543425"/>
                <a:gd name="connsiteY3" fmla="*/ 327660 h 695325"/>
                <a:gd name="connsiteX4" fmla="*/ 4546283 w 4543425"/>
                <a:gd name="connsiteY4" fmla="*/ 337185 h 695325"/>
                <a:gd name="connsiteX5" fmla="*/ 4546283 w 4543425"/>
                <a:gd name="connsiteY5" fmla="*/ 216218 h 695325"/>
                <a:gd name="connsiteX6" fmla="*/ 4509135 w 4543425"/>
                <a:gd name="connsiteY6" fmla="*/ 212408 h 695325"/>
                <a:gd name="connsiteX7" fmla="*/ 4381500 w 4543425"/>
                <a:gd name="connsiteY7" fmla="*/ 328613 h 695325"/>
                <a:gd name="connsiteX8" fmla="*/ 4380548 w 4543425"/>
                <a:gd name="connsiteY8" fmla="*/ 328613 h 695325"/>
                <a:gd name="connsiteX9" fmla="*/ 4380548 w 4543425"/>
                <a:gd name="connsiteY9" fmla="*/ 222885 h 695325"/>
                <a:gd name="connsiteX10" fmla="*/ 4272915 w 4543425"/>
                <a:gd name="connsiteY10" fmla="*/ 222885 h 695325"/>
                <a:gd name="connsiteX11" fmla="*/ 4272915 w 4543425"/>
                <a:gd name="connsiteY11" fmla="*/ 688658 h 695325"/>
                <a:gd name="connsiteX12" fmla="*/ 4151948 w 4543425"/>
                <a:gd name="connsiteY12" fmla="*/ 563880 h 695325"/>
                <a:gd name="connsiteX13" fmla="*/ 3997642 w 4543425"/>
                <a:gd name="connsiteY13" fmla="*/ 610553 h 695325"/>
                <a:gd name="connsiteX14" fmla="*/ 3865245 w 4543425"/>
                <a:gd name="connsiteY14" fmla="*/ 493395 h 695325"/>
                <a:gd name="connsiteX15" fmla="*/ 4187190 w 4543425"/>
                <a:gd name="connsiteY15" fmla="*/ 493395 h 695325"/>
                <a:gd name="connsiteX16" fmla="*/ 3966210 w 4543425"/>
                <a:gd name="connsiteY16" fmla="*/ 212408 h 695325"/>
                <a:gd name="connsiteX17" fmla="*/ 3749992 w 4543425"/>
                <a:gd name="connsiteY17" fmla="*/ 458153 h 695325"/>
                <a:gd name="connsiteX18" fmla="*/ 3992880 w 4543425"/>
                <a:gd name="connsiteY18" fmla="*/ 699135 h 695325"/>
                <a:gd name="connsiteX19" fmla="*/ 4152900 w 4543425"/>
                <a:gd name="connsiteY19" fmla="*/ 661988 h 695325"/>
                <a:gd name="connsiteX20" fmla="*/ 4152900 w 4543425"/>
                <a:gd name="connsiteY20" fmla="*/ 563880 h 695325"/>
                <a:gd name="connsiteX21" fmla="*/ 3864292 w 4543425"/>
                <a:gd name="connsiteY21" fmla="*/ 409575 h 695325"/>
                <a:gd name="connsiteX22" fmla="*/ 3971925 w 4543425"/>
                <a:gd name="connsiteY22" fmla="*/ 300038 h 695325"/>
                <a:gd name="connsiteX23" fmla="*/ 4070033 w 4543425"/>
                <a:gd name="connsiteY23" fmla="*/ 409575 h 695325"/>
                <a:gd name="connsiteX24" fmla="*/ 3864292 w 4543425"/>
                <a:gd name="connsiteY24" fmla="*/ 409575 h 695325"/>
                <a:gd name="connsiteX25" fmla="*/ 3477578 w 4543425"/>
                <a:gd name="connsiteY25" fmla="*/ 688658 h 695325"/>
                <a:gd name="connsiteX26" fmla="*/ 3598545 w 4543425"/>
                <a:gd name="connsiteY26" fmla="*/ 688658 h 695325"/>
                <a:gd name="connsiteX27" fmla="*/ 3598545 w 4543425"/>
                <a:gd name="connsiteY27" fmla="*/ 311468 h 695325"/>
                <a:gd name="connsiteX28" fmla="*/ 3704273 w 4543425"/>
                <a:gd name="connsiteY28" fmla="*/ 311468 h 695325"/>
                <a:gd name="connsiteX29" fmla="*/ 3704273 w 4543425"/>
                <a:gd name="connsiteY29" fmla="*/ 222885 h 695325"/>
                <a:gd name="connsiteX30" fmla="*/ 3598545 w 4543425"/>
                <a:gd name="connsiteY30" fmla="*/ 222885 h 695325"/>
                <a:gd name="connsiteX31" fmla="*/ 3598545 w 4543425"/>
                <a:gd name="connsiteY31" fmla="*/ 164783 h 695325"/>
                <a:gd name="connsiteX32" fmla="*/ 3651885 w 4543425"/>
                <a:gd name="connsiteY32" fmla="*/ 93345 h 695325"/>
                <a:gd name="connsiteX33" fmla="*/ 3704273 w 4543425"/>
                <a:gd name="connsiteY33" fmla="*/ 109538 h 695325"/>
                <a:gd name="connsiteX34" fmla="*/ 3713798 w 4543425"/>
                <a:gd name="connsiteY34" fmla="*/ 9525 h 695325"/>
                <a:gd name="connsiteX35" fmla="*/ 3625215 w 4543425"/>
                <a:gd name="connsiteY35" fmla="*/ 0 h 695325"/>
                <a:gd name="connsiteX36" fmla="*/ 3476625 w 4543425"/>
                <a:gd name="connsiteY36" fmla="*/ 158115 h 695325"/>
                <a:gd name="connsiteX37" fmla="*/ 3476625 w 4543425"/>
                <a:gd name="connsiteY37" fmla="*/ 222885 h 695325"/>
                <a:gd name="connsiteX38" fmla="*/ 3387090 w 4543425"/>
                <a:gd name="connsiteY38" fmla="*/ 222885 h 695325"/>
                <a:gd name="connsiteX39" fmla="*/ 3387090 w 4543425"/>
                <a:gd name="connsiteY39" fmla="*/ 311468 h 695325"/>
                <a:gd name="connsiteX40" fmla="*/ 3476625 w 4543425"/>
                <a:gd name="connsiteY40" fmla="*/ 311468 h 695325"/>
                <a:gd name="connsiteX41" fmla="*/ 3476625 w 4543425"/>
                <a:gd name="connsiteY41" fmla="*/ 688658 h 695325"/>
                <a:gd name="connsiteX42" fmla="*/ 2996565 w 4543425"/>
                <a:gd name="connsiteY42" fmla="*/ 444817 h 695325"/>
                <a:gd name="connsiteX43" fmla="*/ 3112770 w 4543425"/>
                <a:gd name="connsiteY43" fmla="*/ 306705 h 695325"/>
                <a:gd name="connsiteX44" fmla="*/ 3229928 w 4543425"/>
                <a:gd name="connsiteY44" fmla="*/ 444817 h 695325"/>
                <a:gd name="connsiteX45" fmla="*/ 3112770 w 4543425"/>
                <a:gd name="connsiteY45" fmla="*/ 605790 h 695325"/>
                <a:gd name="connsiteX46" fmla="*/ 2996565 w 4543425"/>
                <a:gd name="connsiteY46" fmla="*/ 444817 h 695325"/>
                <a:gd name="connsiteX47" fmla="*/ 2869883 w 4543425"/>
                <a:gd name="connsiteY47" fmla="*/ 459105 h 695325"/>
                <a:gd name="connsiteX48" fmla="*/ 3112770 w 4543425"/>
                <a:gd name="connsiteY48" fmla="*/ 699135 h 695325"/>
                <a:gd name="connsiteX49" fmla="*/ 3356610 w 4543425"/>
                <a:gd name="connsiteY49" fmla="*/ 459105 h 695325"/>
                <a:gd name="connsiteX50" fmla="*/ 3112770 w 4543425"/>
                <a:gd name="connsiteY50" fmla="*/ 212408 h 695325"/>
                <a:gd name="connsiteX51" fmla="*/ 2869883 w 4543425"/>
                <a:gd name="connsiteY51" fmla="*/ 459105 h 695325"/>
                <a:gd name="connsiteX52" fmla="*/ 2365058 w 4543425"/>
                <a:gd name="connsiteY52" fmla="*/ 688658 h 695325"/>
                <a:gd name="connsiteX53" fmla="*/ 2486025 w 4543425"/>
                <a:gd name="connsiteY53" fmla="*/ 688658 h 695325"/>
                <a:gd name="connsiteX54" fmla="*/ 2486025 w 4543425"/>
                <a:gd name="connsiteY54" fmla="*/ 461010 h 695325"/>
                <a:gd name="connsiteX55" fmla="*/ 2592705 w 4543425"/>
                <a:gd name="connsiteY55" fmla="*/ 306705 h 695325"/>
                <a:gd name="connsiteX56" fmla="*/ 2671763 w 4543425"/>
                <a:gd name="connsiteY56" fmla="*/ 440055 h 695325"/>
                <a:gd name="connsiteX57" fmla="*/ 2671763 w 4543425"/>
                <a:gd name="connsiteY57" fmla="*/ 688658 h 695325"/>
                <a:gd name="connsiteX58" fmla="*/ 2792730 w 4543425"/>
                <a:gd name="connsiteY58" fmla="*/ 688658 h 695325"/>
                <a:gd name="connsiteX59" fmla="*/ 2792730 w 4543425"/>
                <a:gd name="connsiteY59" fmla="*/ 394335 h 695325"/>
                <a:gd name="connsiteX60" fmla="*/ 2634615 w 4543425"/>
                <a:gd name="connsiteY60" fmla="*/ 211455 h 695325"/>
                <a:gd name="connsiteX61" fmla="*/ 2487930 w 4543425"/>
                <a:gd name="connsiteY61" fmla="*/ 285750 h 695325"/>
                <a:gd name="connsiteX62" fmla="*/ 2486025 w 4543425"/>
                <a:gd name="connsiteY62" fmla="*/ 285750 h 695325"/>
                <a:gd name="connsiteX63" fmla="*/ 2486025 w 4543425"/>
                <a:gd name="connsiteY63" fmla="*/ 10478 h 695325"/>
                <a:gd name="connsiteX64" fmla="*/ 2365058 w 4543425"/>
                <a:gd name="connsiteY64" fmla="*/ 10478 h 695325"/>
                <a:gd name="connsiteX65" fmla="*/ 2365058 w 4543425"/>
                <a:gd name="connsiteY65" fmla="*/ 688658 h 695325"/>
                <a:gd name="connsiteX66" fmla="*/ 1813560 w 4543425"/>
                <a:gd name="connsiteY66" fmla="*/ 688658 h 695325"/>
                <a:gd name="connsiteX67" fmla="*/ 1934528 w 4543425"/>
                <a:gd name="connsiteY67" fmla="*/ 688658 h 695325"/>
                <a:gd name="connsiteX68" fmla="*/ 1934528 w 4543425"/>
                <a:gd name="connsiteY68" fmla="*/ 461010 h 695325"/>
                <a:gd name="connsiteX69" fmla="*/ 2041207 w 4543425"/>
                <a:gd name="connsiteY69" fmla="*/ 306705 h 695325"/>
                <a:gd name="connsiteX70" fmla="*/ 2120265 w 4543425"/>
                <a:gd name="connsiteY70" fmla="*/ 440055 h 695325"/>
                <a:gd name="connsiteX71" fmla="*/ 2120265 w 4543425"/>
                <a:gd name="connsiteY71" fmla="*/ 688658 h 695325"/>
                <a:gd name="connsiteX72" fmla="*/ 2241233 w 4543425"/>
                <a:gd name="connsiteY72" fmla="*/ 688658 h 695325"/>
                <a:gd name="connsiteX73" fmla="*/ 2241233 w 4543425"/>
                <a:gd name="connsiteY73" fmla="*/ 394335 h 695325"/>
                <a:gd name="connsiteX74" fmla="*/ 2083117 w 4543425"/>
                <a:gd name="connsiteY74" fmla="*/ 211455 h 695325"/>
                <a:gd name="connsiteX75" fmla="*/ 1930717 w 4543425"/>
                <a:gd name="connsiteY75" fmla="*/ 285750 h 695325"/>
                <a:gd name="connsiteX76" fmla="*/ 1928813 w 4543425"/>
                <a:gd name="connsiteY76" fmla="*/ 285750 h 695325"/>
                <a:gd name="connsiteX77" fmla="*/ 1928813 w 4543425"/>
                <a:gd name="connsiteY77" fmla="*/ 222885 h 695325"/>
                <a:gd name="connsiteX78" fmla="*/ 1814513 w 4543425"/>
                <a:gd name="connsiteY78" fmla="*/ 222885 h 695325"/>
                <a:gd name="connsiteX79" fmla="*/ 1814513 w 4543425"/>
                <a:gd name="connsiteY79" fmla="*/ 688658 h 695325"/>
                <a:gd name="connsiteX80" fmla="*/ 1688782 w 4543425"/>
                <a:gd name="connsiteY80" fmla="*/ 222885 h 695325"/>
                <a:gd name="connsiteX81" fmla="*/ 1567815 w 4543425"/>
                <a:gd name="connsiteY81" fmla="*/ 222885 h 695325"/>
                <a:gd name="connsiteX82" fmla="*/ 1567815 w 4543425"/>
                <a:gd name="connsiteY82" fmla="*/ 450533 h 695325"/>
                <a:gd name="connsiteX83" fmla="*/ 1461135 w 4543425"/>
                <a:gd name="connsiteY83" fmla="*/ 604838 h 695325"/>
                <a:gd name="connsiteX84" fmla="*/ 1382078 w 4543425"/>
                <a:gd name="connsiteY84" fmla="*/ 471488 h 695325"/>
                <a:gd name="connsiteX85" fmla="*/ 1382078 w 4543425"/>
                <a:gd name="connsiteY85" fmla="*/ 222885 h 695325"/>
                <a:gd name="connsiteX86" fmla="*/ 1261110 w 4543425"/>
                <a:gd name="connsiteY86" fmla="*/ 222885 h 695325"/>
                <a:gd name="connsiteX87" fmla="*/ 1261110 w 4543425"/>
                <a:gd name="connsiteY87" fmla="*/ 516255 h 695325"/>
                <a:gd name="connsiteX88" fmla="*/ 1419225 w 4543425"/>
                <a:gd name="connsiteY88" fmla="*/ 699135 h 695325"/>
                <a:gd name="connsiteX89" fmla="*/ 1571625 w 4543425"/>
                <a:gd name="connsiteY89" fmla="*/ 624840 h 695325"/>
                <a:gd name="connsiteX90" fmla="*/ 1573530 w 4543425"/>
                <a:gd name="connsiteY90" fmla="*/ 624840 h 695325"/>
                <a:gd name="connsiteX91" fmla="*/ 1573530 w 4543425"/>
                <a:gd name="connsiteY91" fmla="*/ 687705 h 695325"/>
                <a:gd name="connsiteX92" fmla="*/ 1688782 w 4543425"/>
                <a:gd name="connsiteY92" fmla="*/ 687705 h 695325"/>
                <a:gd name="connsiteX93" fmla="*/ 1688782 w 4543425"/>
                <a:gd name="connsiteY93" fmla="*/ 222885 h 695325"/>
                <a:gd name="connsiteX94" fmla="*/ 862965 w 4543425"/>
                <a:gd name="connsiteY94" fmla="*/ 553403 h 695325"/>
                <a:gd name="connsiteX95" fmla="*/ 997268 w 4543425"/>
                <a:gd name="connsiteY95" fmla="*/ 473392 h 695325"/>
                <a:gd name="connsiteX96" fmla="*/ 1049655 w 4543425"/>
                <a:gd name="connsiteY96" fmla="*/ 473392 h 695325"/>
                <a:gd name="connsiteX97" fmla="*/ 1023938 w 4543425"/>
                <a:gd name="connsiteY97" fmla="*/ 569595 h 695325"/>
                <a:gd name="connsiteX98" fmla="*/ 939165 w 4543425"/>
                <a:gd name="connsiteY98" fmla="*/ 611505 h 695325"/>
                <a:gd name="connsiteX99" fmla="*/ 862965 w 4543425"/>
                <a:gd name="connsiteY99" fmla="*/ 553403 h 695325"/>
                <a:gd name="connsiteX100" fmla="*/ 801052 w 4543425"/>
                <a:gd name="connsiteY100" fmla="*/ 351473 h 695325"/>
                <a:gd name="connsiteX101" fmla="*/ 944880 w 4543425"/>
                <a:gd name="connsiteY101" fmla="*/ 300990 h 695325"/>
                <a:gd name="connsiteX102" fmla="*/ 1049655 w 4543425"/>
                <a:gd name="connsiteY102" fmla="*/ 401003 h 695325"/>
                <a:gd name="connsiteX103" fmla="*/ 982980 w 4543425"/>
                <a:gd name="connsiteY103" fmla="*/ 401003 h 695325"/>
                <a:gd name="connsiteX104" fmla="*/ 826770 w 4543425"/>
                <a:gd name="connsiteY104" fmla="*/ 427673 h 695325"/>
                <a:gd name="connsiteX105" fmla="*/ 747713 w 4543425"/>
                <a:gd name="connsiteY105" fmla="*/ 561023 h 695325"/>
                <a:gd name="connsiteX106" fmla="*/ 910590 w 4543425"/>
                <a:gd name="connsiteY106" fmla="*/ 699135 h 695325"/>
                <a:gd name="connsiteX107" fmla="*/ 1054418 w 4543425"/>
                <a:gd name="connsiteY107" fmla="*/ 619125 h 695325"/>
                <a:gd name="connsiteX108" fmla="*/ 1056323 w 4543425"/>
                <a:gd name="connsiteY108" fmla="*/ 619125 h 695325"/>
                <a:gd name="connsiteX109" fmla="*/ 1062038 w 4543425"/>
                <a:gd name="connsiteY109" fmla="*/ 688658 h 695325"/>
                <a:gd name="connsiteX110" fmla="*/ 1168718 w 4543425"/>
                <a:gd name="connsiteY110" fmla="*/ 688658 h 695325"/>
                <a:gd name="connsiteX111" fmla="*/ 1163002 w 4543425"/>
                <a:gd name="connsiteY111" fmla="*/ 584835 h 695325"/>
                <a:gd name="connsiteX112" fmla="*/ 1161098 w 4543425"/>
                <a:gd name="connsiteY112" fmla="*/ 468630 h 695325"/>
                <a:gd name="connsiteX113" fmla="*/ 1161098 w 4543425"/>
                <a:gd name="connsiteY113" fmla="*/ 408623 h 695325"/>
                <a:gd name="connsiteX114" fmla="*/ 960120 w 4543425"/>
                <a:gd name="connsiteY114" fmla="*/ 212408 h 695325"/>
                <a:gd name="connsiteX115" fmla="*/ 798195 w 4543425"/>
                <a:gd name="connsiteY115" fmla="*/ 247650 h 695325"/>
                <a:gd name="connsiteX116" fmla="*/ 801052 w 4543425"/>
                <a:gd name="connsiteY116" fmla="*/ 351473 h 695325"/>
                <a:gd name="connsiteX117" fmla="*/ 437197 w 4543425"/>
                <a:gd name="connsiteY117" fmla="*/ 688658 h 695325"/>
                <a:gd name="connsiteX118" fmla="*/ 558165 w 4543425"/>
                <a:gd name="connsiteY118" fmla="*/ 688658 h 695325"/>
                <a:gd name="connsiteX119" fmla="*/ 558165 w 4543425"/>
                <a:gd name="connsiteY119" fmla="*/ 517208 h 695325"/>
                <a:gd name="connsiteX120" fmla="*/ 656272 w 4543425"/>
                <a:gd name="connsiteY120" fmla="*/ 327660 h 695325"/>
                <a:gd name="connsiteX121" fmla="*/ 710565 w 4543425"/>
                <a:gd name="connsiteY121" fmla="*/ 337185 h 695325"/>
                <a:gd name="connsiteX122" fmla="*/ 710565 w 4543425"/>
                <a:gd name="connsiteY122" fmla="*/ 216218 h 695325"/>
                <a:gd name="connsiteX123" fmla="*/ 673418 w 4543425"/>
                <a:gd name="connsiteY123" fmla="*/ 212408 h 695325"/>
                <a:gd name="connsiteX124" fmla="*/ 545782 w 4543425"/>
                <a:gd name="connsiteY124" fmla="*/ 328613 h 695325"/>
                <a:gd name="connsiteX125" fmla="*/ 543877 w 4543425"/>
                <a:gd name="connsiteY125" fmla="*/ 328613 h 695325"/>
                <a:gd name="connsiteX126" fmla="*/ 543877 w 4543425"/>
                <a:gd name="connsiteY126" fmla="*/ 222885 h 695325"/>
                <a:gd name="connsiteX127" fmla="*/ 437197 w 4543425"/>
                <a:gd name="connsiteY127" fmla="*/ 222885 h 695325"/>
                <a:gd name="connsiteX128" fmla="*/ 437197 w 4543425"/>
                <a:gd name="connsiteY128" fmla="*/ 688658 h 695325"/>
                <a:gd name="connsiteX129" fmla="*/ 0 w 4543425"/>
                <a:gd name="connsiteY129" fmla="*/ 688658 h 695325"/>
                <a:gd name="connsiteX130" fmla="*/ 126682 w 4543425"/>
                <a:gd name="connsiteY130" fmla="*/ 688658 h 695325"/>
                <a:gd name="connsiteX131" fmla="*/ 126682 w 4543425"/>
                <a:gd name="connsiteY131" fmla="*/ 412433 h 695325"/>
                <a:gd name="connsiteX132" fmla="*/ 340042 w 4543425"/>
                <a:gd name="connsiteY132" fmla="*/ 412433 h 695325"/>
                <a:gd name="connsiteX133" fmla="*/ 340042 w 4543425"/>
                <a:gd name="connsiteY133" fmla="*/ 312420 h 695325"/>
                <a:gd name="connsiteX134" fmla="*/ 126682 w 4543425"/>
                <a:gd name="connsiteY134" fmla="*/ 312420 h 695325"/>
                <a:gd name="connsiteX135" fmla="*/ 126682 w 4543425"/>
                <a:gd name="connsiteY135" fmla="*/ 157163 h 695325"/>
                <a:gd name="connsiteX136" fmla="*/ 350520 w 4543425"/>
                <a:gd name="connsiteY136" fmla="*/ 157163 h 695325"/>
                <a:gd name="connsiteX137" fmla="*/ 350520 w 4543425"/>
                <a:gd name="connsiteY137" fmla="*/ 58102 h 695325"/>
                <a:gd name="connsiteX138" fmla="*/ 0 w 4543425"/>
                <a:gd name="connsiteY138" fmla="*/ 58102 h 695325"/>
                <a:gd name="connsiteX139" fmla="*/ 0 w 4543425"/>
                <a:gd name="connsiteY139" fmla="*/ 688658 h 69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</a:cxnLst>
              <a:rect l="l" t="t" r="r" b="b"/>
              <a:pathLst>
                <a:path w="4543425" h="695325">
                  <a:moveTo>
                    <a:pt x="4272915" y="688658"/>
                  </a:moveTo>
                  <a:lnTo>
                    <a:pt x="4393883" y="688658"/>
                  </a:lnTo>
                  <a:lnTo>
                    <a:pt x="4393883" y="517208"/>
                  </a:lnTo>
                  <a:cubicBezTo>
                    <a:pt x="4393883" y="450533"/>
                    <a:pt x="4393883" y="327660"/>
                    <a:pt x="4491990" y="327660"/>
                  </a:cubicBezTo>
                  <a:cubicBezTo>
                    <a:pt x="4513898" y="327660"/>
                    <a:pt x="4535805" y="331470"/>
                    <a:pt x="4546283" y="337185"/>
                  </a:cubicBezTo>
                  <a:lnTo>
                    <a:pt x="4546283" y="216218"/>
                  </a:lnTo>
                  <a:cubicBezTo>
                    <a:pt x="4533900" y="212408"/>
                    <a:pt x="4520565" y="212408"/>
                    <a:pt x="4509135" y="212408"/>
                  </a:cubicBezTo>
                  <a:cubicBezTo>
                    <a:pt x="4436745" y="212408"/>
                    <a:pt x="4387215" y="285750"/>
                    <a:pt x="4381500" y="328613"/>
                  </a:cubicBezTo>
                  <a:lnTo>
                    <a:pt x="4380548" y="328613"/>
                  </a:lnTo>
                  <a:lnTo>
                    <a:pt x="4380548" y="222885"/>
                  </a:lnTo>
                  <a:lnTo>
                    <a:pt x="4272915" y="222885"/>
                  </a:lnTo>
                  <a:lnTo>
                    <a:pt x="4272915" y="688658"/>
                  </a:lnTo>
                  <a:close/>
                  <a:moveTo>
                    <a:pt x="4151948" y="563880"/>
                  </a:moveTo>
                  <a:cubicBezTo>
                    <a:pt x="4107180" y="589598"/>
                    <a:pt x="4055745" y="610553"/>
                    <a:pt x="3997642" y="610553"/>
                  </a:cubicBezTo>
                  <a:cubicBezTo>
                    <a:pt x="3922395" y="610553"/>
                    <a:pt x="3870008" y="567690"/>
                    <a:pt x="3865245" y="493395"/>
                  </a:cubicBezTo>
                  <a:lnTo>
                    <a:pt x="4187190" y="493395"/>
                  </a:lnTo>
                  <a:cubicBezTo>
                    <a:pt x="4187190" y="330518"/>
                    <a:pt x="4138612" y="212408"/>
                    <a:pt x="3966210" y="212408"/>
                  </a:cubicBezTo>
                  <a:cubicBezTo>
                    <a:pt x="3821430" y="212408"/>
                    <a:pt x="3749992" y="323850"/>
                    <a:pt x="3749992" y="458153"/>
                  </a:cubicBezTo>
                  <a:cubicBezTo>
                    <a:pt x="3749992" y="610553"/>
                    <a:pt x="3839528" y="699135"/>
                    <a:pt x="3992880" y="699135"/>
                  </a:cubicBezTo>
                  <a:cubicBezTo>
                    <a:pt x="4057650" y="699135"/>
                    <a:pt x="4108133" y="686753"/>
                    <a:pt x="4152900" y="661988"/>
                  </a:cubicBezTo>
                  <a:lnTo>
                    <a:pt x="4152900" y="563880"/>
                  </a:lnTo>
                  <a:close/>
                  <a:moveTo>
                    <a:pt x="3864292" y="409575"/>
                  </a:moveTo>
                  <a:cubicBezTo>
                    <a:pt x="3870008" y="347663"/>
                    <a:pt x="3904298" y="300038"/>
                    <a:pt x="3971925" y="300038"/>
                  </a:cubicBezTo>
                  <a:cubicBezTo>
                    <a:pt x="4039553" y="300038"/>
                    <a:pt x="4067175" y="350520"/>
                    <a:pt x="4070033" y="409575"/>
                  </a:cubicBezTo>
                  <a:lnTo>
                    <a:pt x="3864292" y="409575"/>
                  </a:lnTo>
                  <a:close/>
                  <a:moveTo>
                    <a:pt x="3477578" y="688658"/>
                  </a:moveTo>
                  <a:lnTo>
                    <a:pt x="3598545" y="688658"/>
                  </a:lnTo>
                  <a:lnTo>
                    <a:pt x="3598545" y="311468"/>
                  </a:lnTo>
                  <a:lnTo>
                    <a:pt x="3704273" y="311468"/>
                  </a:lnTo>
                  <a:lnTo>
                    <a:pt x="3704273" y="222885"/>
                  </a:lnTo>
                  <a:lnTo>
                    <a:pt x="3598545" y="222885"/>
                  </a:lnTo>
                  <a:lnTo>
                    <a:pt x="3598545" y="164783"/>
                  </a:lnTo>
                  <a:cubicBezTo>
                    <a:pt x="3598545" y="128588"/>
                    <a:pt x="3610928" y="93345"/>
                    <a:pt x="3651885" y="93345"/>
                  </a:cubicBezTo>
                  <a:cubicBezTo>
                    <a:pt x="3677603" y="93345"/>
                    <a:pt x="3693795" y="102870"/>
                    <a:pt x="3704273" y="109538"/>
                  </a:cubicBezTo>
                  <a:lnTo>
                    <a:pt x="3713798" y="9525"/>
                  </a:lnTo>
                  <a:cubicBezTo>
                    <a:pt x="3689985" y="3810"/>
                    <a:pt x="3655695" y="0"/>
                    <a:pt x="3625215" y="0"/>
                  </a:cubicBezTo>
                  <a:cubicBezTo>
                    <a:pt x="3529013" y="0"/>
                    <a:pt x="3476625" y="64770"/>
                    <a:pt x="3476625" y="158115"/>
                  </a:cubicBezTo>
                  <a:lnTo>
                    <a:pt x="3476625" y="222885"/>
                  </a:lnTo>
                  <a:lnTo>
                    <a:pt x="3387090" y="222885"/>
                  </a:lnTo>
                  <a:lnTo>
                    <a:pt x="3387090" y="311468"/>
                  </a:lnTo>
                  <a:lnTo>
                    <a:pt x="3476625" y="311468"/>
                  </a:lnTo>
                  <a:lnTo>
                    <a:pt x="3476625" y="688658"/>
                  </a:lnTo>
                  <a:close/>
                  <a:moveTo>
                    <a:pt x="2996565" y="444817"/>
                  </a:moveTo>
                  <a:cubicBezTo>
                    <a:pt x="2996565" y="375285"/>
                    <a:pt x="3034665" y="306705"/>
                    <a:pt x="3112770" y="306705"/>
                  </a:cubicBezTo>
                  <a:cubicBezTo>
                    <a:pt x="3191828" y="306705"/>
                    <a:pt x="3229928" y="373380"/>
                    <a:pt x="3229928" y="444817"/>
                  </a:cubicBezTo>
                  <a:cubicBezTo>
                    <a:pt x="3229928" y="522923"/>
                    <a:pt x="3205163" y="605790"/>
                    <a:pt x="3112770" y="605790"/>
                  </a:cubicBezTo>
                  <a:cubicBezTo>
                    <a:pt x="3020378" y="604838"/>
                    <a:pt x="2996565" y="521017"/>
                    <a:pt x="2996565" y="444817"/>
                  </a:cubicBezTo>
                  <a:moveTo>
                    <a:pt x="2869883" y="459105"/>
                  </a:moveTo>
                  <a:cubicBezTo>
                    <a:pt x="2869883" y="592455"/>
                    <a:pt x="2959417" y="699135"/>
                    <a:pt x="3112770" y="699135"/>
                  </a:cubicBezTo>
                  <a:cubicBezTo>
                    <a:pt x="3267075" y="699135"/>
                    <a:pt x="3356610" y="592455"/>
                    <a:pt x="3356610" y="459105"/>
                  </a:cubicBezTo>
                  <a:cubicBezTo>
                    <a:pt x="3356610" y="305753"/>
                    <a:pt x="3250883" y="212408"/>
                    <a:pt x="3112770" y="212408"/>
                  </a:cubicBezTo>
                  <a:cubicBezTo>
                    <a:pt x="2975610" y="212408"/>
                    <a:pt x="2869883" y="304800"/>
                    <a:pt x="2869883" y="459105"/>
                  </a:cubicBezTo>
                  <a:moveTo>
                    <a:pt x="2365058" y="688658"/>
                  </a:moveTo>
                  <a:lnTo>
                    <a:pt x="2486025" y="688658"/>
                  </a:lnTo>
                  <a:lnTo>
                    <a:pt x="2486025" y="461010"/>
                  </a:lnTo>
                  <a:cubicBezTo>
                    <a:pt x="2486025" y="401003"/>
                    <a:pt x="2505075" y="306705"/>
                    <a:pt x="2592705" y="306705"/>
                  </a:cubicBezTo>
                  <a:cubicBezTo>
                    <a:pt x="2670810" y="306705"/>
                    <a:pt x="2671763" y="383858"/>
                    <a:pt x="2671763" y="440055"/>
                  </a:cubicBezTo>
                  <a:lnTo>
                    <a:pt x="2671763" y="688658"/>
                  </a:lnTo>
                  <a:lnTo>
                    <a:pt x="2792730" y="688658"/>
                  </a:lnTo>
                  <a:lnTo>
                    <a:pt x="2792730" y="394335"/>
                  </a:lnTo>
                  <a:cubicBezTo>
                    <a:pt x="2792730" y="289560"/>
                    <a:pt x="2745105" y="211455"/>
                    <a:pt x="2634615" y="211455"/>
                  </a:cubicBezTo>
                  <a:cubicBezTo>
                    <a:pt x="2571750" y="211455"/>
                    <a:pt x="2519363" y="240030"/>
                    <a:pt x="2487930" y="285750"/>
                  </a:cubicBezTo>
                  <a:lnTo>
                    <a:pt x="2486025" y="285750"/>
                  </a:lnTo>
                  <a:lnTo>
                    <a:pt x="2486025" y="10478"/>
                  </a:lnTo>
                  <a:lnTo>
                    <a:pt x="2365058" y="10478"/>
                  </a:lnTo>
                  <a:lnTo>
                    <a:pt x="2365058" y="688658"/>
                  </a:lnTo>
                  <a:close/>
                  <a:moveTo>
                    <a:pt x="1813560" y="688658"/>
                  </a:moveTo>
                  <a:lnTo>
                    <a:pt x="1934528" y="688658"/>
                  </a:lnTo>
                  <a:lnTo>
                    <a:pt x="1934528" y="461010"/>
                  </a:lnTo>
                  <a:cubicBezTo>
                    <a:pt x="1934528" y="401003"/>
                    <a:pt x="1953578" y="306705"/>
                    <a:pt x="2041207" y="306705"/>
                  </a:cubicBezTo>
                  <a:cubicBezTo>
                    <a:pt x="2119313" y="306705"/>
                    <a:pt x="2120265" y="383858"/>
                    <a:pt x="2120265" y="440055"/>
                  </a:cubicBezTo>
                  <a:lnTo>
                    <a:pt x="2120265" y="688658"/>
                  </a:lnTo>
                  <a:lnTo>
                    <a:pt x="2241233" y="688658"/>
                  </a:lnTo>
                  <a:lnTo>
                    <a:pt x="2241233" y="394335"/>
                  </a:lnTo>
                  <a:cubicBezTo>
                    <a:pt x="2241233" y="289560"/>
                    <a:pt x="2193608" y="211455"/>
                    <a:pt x="2083117" y="211455"/>
                  </a:cubicBezTo>
                  <a:cubicBezTo>
                    <a:pt x="2020253" y="211455"/>
                    <a:pt x="1967865" y="232410"/>
                    <a:pt x="1930717" y="285750"/>
                  </a:cubicBezTo>
                  <a:lnTo>
                    <a:pt x="1928813" y="285750"/>
                  </a:lnTo>
                  <a:lnTo>
                    <a:pt x="1928813" y="222885"/>
                  </a:lnTo>
                  <a:lnTo>
                    <a:pt x="1814513" y="222885"/>
                  </a:lnTo>
                  <a:lnTo>
                    <a:pt x="1814513" y="688658"/>
                  </a:lnTo>
                  <a:close/>
                  <a:moveTo>
                    <a:pt x="1688782" y="222885"/>
                  </a:moveTo>
                  <a:lnTo>
                    <a:pt x="1567815" y="222885"/>
                  </a:lnTo>
                  <a:lnTo>
                    <a:pt x="1567815" y="450533"/>
                  </a:lnTo>
                  <a:cubicBezTo>
                    <a:pt x="1567815" y="509588"/>
                    <a:pt x="1548765" y="604838"/>
                    <a:pt x="1461135" y="604838"/>
                  </a:cubicBezTo>
                  <a:cubicBezTo>
                    <a:pt x="1383030" y="604838"/>
                    <a:pt x="1382078" y="527685"/>
                    <a:pt x="1382078" y="471488"/>
                  </a:cubicBezTo>
                  <a:lnTo>
                    <a:pt x="1382078" y="222885"/>
                  </a:lnTo>
                  <a:lnTo>
                    <a:pt x="1261110" y="222885"/>
                  </a:lnTo>
                  <a:lnTo>
                    <a:pt x="1261110" y="516255"/>
                  </a:lnTo>
                  <a:cubicBezTo>
                    <a:pt x="1261110" y="621030"/>
                    <a:pt x="1308735" y="699135"/>
                    <a:pt x="1419225" y="699135"/>
                  </a:cubicBezTo>
                  <a:cubicBezTo>
                    <a:pt x="1482090" y="699135"/>
                    <a:pt x="1534478" y="670560"/>
                    <a:pt x="1571625" y="624840"/>
                  </a:cubicBezTo>
                  <a:lnTo>
                    <a:pt x="1573530" y="624840"/>
                  </a:lnTo>
                  <a:lnTo>
                    <a:pt x="1573530" y="687705"/>
                  </a:lnTo>
                  <a:lnTo>
                    <a:pt x="1688782" y="687705"/>
                  </a:lnTo>
                  <a:lnTo>
                    <a:pt x="1688782" y="222885"/>
                  </a:lnTo>
                  <a:close/>
                  <a:moveTo>
                    <a:pt x="862965" y="553403"/>
                  </a:moveTo>
                  <a:cubicBezTo>
                    <a:pt x="862965" y="481965"/>
                    <a:pt x="942975" y="473392"/>
                    <a:pt x="997268" y="473392"/>
                  </a:cubicBezTo>
                  <a:lnTo>
                    <a:pt x="1049655" y="473392"/>
                  </a:lnTo>
                  <a:cubicBezTo>
                    <a:pt x="1049655" y="509588"/>
                    <a:pt x="1043940" y="542925"/>
                    <a:pt x="1023938" y="569595"/>
                  </a:cubicBezTo>
                  <a:cubicBezTo>
                    <a:pt x="1004888" y="594360"/>
                    <a:pt x="976313" y="611505"/>
                    <a:pt x="939165" y="611505"/>
                  </a:cubicBezTo>
                  <a:cubicBezTo>
                    <a:pt x="896302" y="610553"/>
                    <a:pt x="862965" y="593408"/>
                    <a:pt x="862965" y="553403"/>
                  </a:cubicBezTo>
                  <a:moveTo>
                    <a:pt x="801052" y="351473"/>
                  </a:moveTo>
                  <a:cubicBezTo>
                    <a:pt x="842010" y="320993"/>
                    <a:pt x="893445" y="300990"/>
                    <a:pt x="944880" y="300990"/>
                  </a:cubicBezTo>
                  <a:cubicBezTo>
                    <a:pt x="1016318" y="300990"/>
                    <a:pt x="1049655" y="326708"/>
                    <a:pt x="1049655" y="401003"/>
                  </a:cubicBezTo>
                  <a:lnTo>
                    <a:pt x="982980" y="401003"/>
                  </a:lnTo>
                  <a:cubicBezTo>
                    <a:pt x="932497" y="401003"/>
                    <a:pt x="872490" y="405765"/>
                    <a:pt x="826770" y="427673"/>
                  </a:cubicBezTo>
                  <a:cubicBezTo>
                    <a:pt x="781050" y="450533"/>
                    <a:pt x="747713" y="490538"/>
                    <a:pt x="747713" y="561023"/>
                  </a:cubicBezTo>
                  <a:cubicBezTo>
                    <a:pt x="747713" y="649605"/>
                    <a:pt x="827722" y="699135"/>
                    <a:pt x="910590" y="699135"/>
                  </a:cubicBezTo>
                  <a:cubicBezTo>
                    <a:pt x="965835" y="699135"/>
                    <a:pt x="1025843" y="670560"/>
                    <a:pt x="1054418" y="619125"/>
                  </a:cubicBezTo>
                  <a:lnTo>
                    <a:pt x="1056323" y="619125"/>
                  </a:lnTo>
                  <a:cubicBezTo>
                    <a:pt x="1057275" y="633413"/>
                    <a:pt x="1057275" y="663893"/>
                    <a:pt x="1062038" y="688658"/>
                  </a:cubicBezTo>
                  <a:lnTo>
                    <a:pt x="1168718" y="688658"/>
                  </a:lnTo>
                  <a:cubicBezTo>
                    <a:pt x="1165860" y="652463"/>
                    <a:pt x="1163955" y="620078"/>
                    <a:pt x="1163002" y="584835"/>
                  </a:cubicBezTo>
                  <a:cubicBezTo>
                    <a:pt x="1162050" y="550545"/>
                    <a:pt x="1161098" y="515303"/>
                    <a:pt x="1161098" y="468630"/>
                  </a:cubicBezTo>
                  <a:lnTo>
                    <a:pt x="1161098" y="408623"/>
                  </a:lnTo>
                  <a:cubicBezTo>
                    <a:pt x="1161098" y="271463"/>
                    <a:pt x="1102043" y="212408"/>
                    <a:pt x="960120" y="212408"/>
                  </a:cubicBezTo>
                  <a:cubicBezTo>
                    <a:pt x="908685" y="212408"/>
                    <a:pt x="845820" y="225743"/>
                    <a:pt x="798195" y="247650"/>
                  </a:cubicBezTo>
                  <a:lnTo>
                    <a:pt x="801052" y="351473"/>
                  </a:lnTo>
                  <a:close/>
                  <a:moveTo>
                    <a:pt x="437197" y="688658"/>
                  </a:moveTo>
                  <a:lnTo>
                    <a:pt x="558165" y="688658"/>
                  </a:lnTo>
                  <a:lnTo>
                    <a:pt x="558165" y="517208"/>
                  </a:lnTo>
                  <a:cubicBezTo>
                    <a:pt x="558165" y="450533"/>
                    <a:pt x="558165" y="327660"/>
                    <a:pt x="656272" y="327660"/>
                  </a:cubicBezTo>
                  <a:cubicBezTo>
                    <a:pt x="678180" y="327660"/>
                    <a:pt x="700088" y="331470"/>
                    <a:pt x="710565" y="337185"/>
                  </a:cubicBezTo>
                  <a:lnTo>
                    <a:pt x="710565" y="216218"/>
                  </a:lnTo>
                  <a:cubicBezTo>
                    <a:pt x="698182" y="212408"/>
                    <a:pt x="684847" y="212408"/>
                    <a:pt x="673418" y="212408"/>
                  </a:cubicBezTo>
                  <a:cubicBezTo>
                    <a:pt x="601027" y="212408"/>
                    <a:pt x="551497" y="285750"/>
                    <a:pt x="545782" y="328613"/>
                  </a:cubicBezTo>
                  <a:lnTo>
                    <a:pt x="543877" y="328613"/>
                  </a:lnTo>
                  <a:lnTo>
                    <a:pt x="543877" y="222885"/>
                  </a:lnTo>
                  <a:lnTo>
                    <a:pt x="437197" y="222885"/>
                  </a:lnTo>
                  <a:lnTo>
                    <a:pt x="437197" y="688658"/>
                  </a:lnTo>
                  <a:close/>
                  <a:moveTo>
                    <a:pt x="0" y="688658"/>
                  </a:moveTo>
                  <a:lnTo>
                    <a:pt x="126682" y="688658"/>
                  </a:lnTo>
                  <a:lnTo>
                    <a:pt x="126682" y="412433"/>
                  </a:lnTo>
                  <a:lnTo>
                    <a:pt x="340042" y="412433"/>
                  </a:lnTo>
                  <a:lnTo>
                    <a:pt x="340042" y="312420"/>
                  </a:lnTo>
                  <a:lnTo>
                    <a:pt x="126682" y="312420"/>
                  </a:lnTo>
                  <a:lnTo>
                    <a:pt x="126682" y="157163"/>
                  </a:lnTo>
                  <a:lnTo>
                    <a:pt x="350520" y="157163"/>
                  </a:lnTo>
                  <a:lnTo>
                    <a:pt x="350520" y="58102"/>
                  </a:lnTo>
                  <a:lnTo>
                    <a:pt x="0" y="58102"/>
                  </a:lnTo>
                  <a:lnTo>
                    <a:pt x="0" y="688658"/>
                  </a:ln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/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FACB26FC-549B-4F92-97E3-A04CC1A61BB9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10461749" y="5587159"/>
              <a:ext cx="17402" cy="95710"/>
            </a:xfrm>
            <a:custGeom>
              <a:avLst/>
              <a:gdLst>
                <a:gd name="connsiteX0" fmla="*/ 0 w 57150"/>
                <a:gd name="connsiteY0" fmla="*/ 0 h 314325"/>
                <a:gd name="connsiteX1" fmla="*/ 62865 w 57150"/>
                <a:gd name="connsiteY1" fmla="*/ 0 h 314325"/>
                <a:gd name="connsiteX2" fmla="*/ 62865 w 57150"/>
                <a:gd name="connsiteY2" fmla="*/ 314325 h 314325"/>
                <a:gd name="connsiteX3" fmla="*/ 0 w 57150"/>
                <a:gd name="connsiteY3" fmla="*/ 314325 h 314325"/>
                <a:gd name="connsiteX4" fmla="*/ 0 w 57150"/>
                <a:gd name="connsiteY4" fmla="*/ 0 h 314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14325">
                  <a:moveTo>
                    <a:pt x="0" y="0"/>
                  </a:moveTo>
                  <a:lnTo>
                    <a:pt x="62865" y="0"/>
                  </a:lnTo>
                  <a:lnTo>
                    <a:pt x="62865" y="314325"/>
                  </a:lnTo>
                  <a:lnTo>
                    <a:pt x="0" y="31432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/>
            </a:p>
          </p:txBody>
        </p:sp>
        <p:sp>
          <p:nvSpPr>
            <p:cNvPr id="19" name="Freihandform: Form 18">
              <a:extLst>
                <a:ext uri="{FF2B5EF4-FFF2-40B4-BE49-F238E27FC236}">
                  <a16:creationId xmlns:a16="http://schemas.microsoft.com/office/drawing/2014/main" id="{5317B078-A6F8-4ED4-A1AD-8BEADB5C8944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10507270" y="5587142"/>
              <a:ext cx="55105" cy="95710"/>
            </a:xfrm>
            <a:custGeom>
              <a:avLst/>
              <a:gdLst>
                <a:gd name="connsiteX0" fmla="*/ 0 w 180975"/>
                <a:gd name="connsiteY0" fmla="*/ 0 h 314325"/>
                <a:gd name="connsiteX1" fmla="*/ 185738 w 180975"/>
                <a:gd name="connsiteY1" fmla="*/ 0 h 314325"/>
                <a:gd name="connsiteX2" fmla="*/ 185738 w 180975"/>
                <a:gd name="connsiteY2" fmla="*/ 49530 h 314325"/>
                <a:gd name="connsiteX3" fmla="*/ 62865 w 180975"/>
                <a:gd name="connsiteY3" fmla="*/ 49530 h 314325"/>
                <a:gd name="connsiteX4" fmla="*/ 62865 w 180975"/>
                <a:gd name="connsiteY4" fmla="*/ 126682 h 314325"/>
                <a:gd name="connsiteX5" fmla="*/ 175260 w 180975"/>
                <a:gd name="connsiteY5" fmla="*/ 126682 h 314325"/>
                <a:gd name="connsiteX6" fmla="*/ 175260 w 180975"/>
                <a:gd name="connsiteY6" fmla="*/ 176213 h 314325"/>
                <a:gd name="connsiteX7" fmla="*/ 62865 w 180975"/>
                <a:gd name="connsiteY7" fmla="*/ 176213 h 314325"/>
                <a:gd name="connsiteX8" fmla="*/ 62865 w 180975"/>
                <a:gd name="connsiteY8" fmla="*/ 264795 h 314325"/>
                <a:gd name="connsiteX9" fmla="*/ 186690 w 180975"/>
                <a:gd name="connsiteY9" fmla="*/ 264795 h 314325"/>
                <a:gd name="connsiteX10" fmla="*/ 186690 w 180975"/>
                <a:gd name="connsiteY10" fmla="*/ 314325 h 314325"/>
                <a:gd name="connsiteX11" fmla="*/ 0 w 180975"/>
                <a:gd name="connsiteY11" fmla="*/ 314325 h 314325"/>
                <a:gd name="connsiteX12" fmla="*/ 0 w 180975"/>
                <a:gd name="connsiteY12" fmla="*/ 0 h 314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0975" h="314325">
                  <a:moveTo>
                    <a:pt x="0" y="0"/>
                  </a:moveTo>
                  <a:lnTo>
                    <a:pt x="185738" y="0"/>
                  </a:lnTo>
                  <a:lnTo>
                    <a:pt x="185738" y="49530"/>
                  </a:lnTo>
                  <a:lnTo>
                    <a:pt x="62865" y="49530"/>
                  </a:lnTo>
                  <a:lnTo>
                    <a:pt x="62865" y="126682"/>
                  </a:lnTo>
                  <a:lnTo>
                    <a:pt x="175260" y="126682"/>
                  </a:lnTo>
                  <a:lnTo>
                    <a:pt x="175260" y="176213"/>
                  </a:lnTo>
                  <a:lnTo>
                    <a:pt x="62865" y="176213"/>
                  </a:lnTo>
                  <a:lnTo>
                    <a:pt x="62865" y="264795"/>
                  </a:lnTo>
                  <a:lnTo>
                    <a:pt x="186690" y="264795"/>
                  </a:lnTo>
                  <a:lnTo>
                    <a:pt x="186690" y="314325"/>
                  </a:lnTo>
                  <a:lnTo>
                    <a:pt x="0" y="31432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/>
            </a:p>
          </p:txBody>
        </p:sp>
        <p:sp>
          <p:nvSpPr>
            <p:cNvPr id="20" name="Freihandform: Form 19">
              <a:extLst>
                <a:ext uri="{FF2B5EF4-FFF2-40B4-BE49-F238E27FC236}">
                  <a16:creationId xmlns:a16="http://schemas.microsoft.com/office/drawing/2014/main" id="{4E4DEC82-6239-4BF8-B565-5E1FE52D7B3E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10588213" y="5587159"/>
              <a:ext cx="107311" cy="95710"/>
            </a:xfrm>
            <a:custGeom>
              <a:avLst/>
              <a:gdLst>
                <a:gd name="connsiteX0" fmla="*/ 0 w 352425"/>
                <a:gd name="connsiteY0" fmla="*/ 0 h 314325"/>
                <a:gd name="connsiteX1" fmla="*/ 100965 w 352425"/>
                <a:gd name="connsiteY1" fmla="*/ 0 h 314325"/>
                <a:gd name="connsiteX2" fmla="*/ 176213 w 352425"/>
                <a:gd name="connsiteY2" fmla="*/ 238125 h 314325"/>
                <a:gd name="connsiteX3" fmla="*/ 177165 w 352425"/>
                <a:gd name="connsiteY3" fmla="*/ 238125 h 314325"/>
                <a:gd name="connsiteX4" fmla="*/ 252413 w 352425"/>
                <a:gd name="connsiteY4" fmla="*/ 0 h 314325"/>
                <a:gd name="connsiteX5" fmla="*/ 353378 w 352425"/>
                <a:gd name="connsiteY5" fmla="*/ 0 h 314325"/>
                <a:gd name="connsiteX6" fmla="*/ 353378 w 352425"/>
                <a:gd name="connsiteY6" fmla="*/ 314325 h 314325"/>
                <a:gd name="connsiteX7" fmla="*/ 292418 w 352425"/>
                <a:gd name="connsiteY7" fmla="*/ 314325 h 314325"/>
                <a:gd name="connsiteX8" fmla="*/ 292418 w 352425"/>
                <a:gd name="connsiteY8" fmla="*/ 54292 h 314325"/>
                <a:gd name="connsiteX9" fmla="*/ 291465 w 352425"/>
                <a:gd name="connsiteY9" fmla="*/ 54292 h 314325"/>
                <a:gd name="connsiteX10" fmla="*/ 206693 w 352425"/>
                <a:gd name="connsiteY10" fmla="*/ 314325 h 314325"/>
                <a:gd name="connsiteX11" fmla="*/ 146685 w 352425"/>
                <a:gd name="connsiteY11" fmla="*/ 314325 h 314325"/>
                <a:gd name="connsiteX12" fmla="*/ 61913 w 352425"/>
                <a:gd name="connsiteY12" fmla="*/ 54292 h 314325"/>
                <a:gd name="connsiteX13" fmla="*/ 60960 w 352425"/>
                <a:gd name="connsiteY13" fmla="*/ 55245 h 314325"/>
                <a:gd name="connsiteX14" fmla="*/ 60960 w 352425"/>
                <a:gd name="connsiteY14" fmla="*/ 314325 h 314325"/>
                <a:gd name="connsiteX15" fmla="*/ 953 w 352425"/>
                <a:gd name="connsiteY15" fmla="*/ 314325 h 314325"/>
                <a:gd name="connsiteX16" fmla="*/ 953 w 352425"/>
                <a:gd name="connsiteY16" fmla="*/ 0 h 314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52425" h="314325">
                  <a:moveTo>
                    <a:pt x="0" y="0"/>
                  </a:moveTo>
                  <a:lnTo>
                    <a:pt x="100965" y="0"/>
                  </a:lnTo>
                  <a:lnTo>
                    <a:pt x="176213" y="238125"/>
                  </a:lnTo>
                  <a:lnTo>
                    <a:pt x="177165" y="238125"/>
                  </a:lnTo>
                  <a:lnTo>
                    <a:pt x="252413" y="0"/>
                  </a:lnTo>
                  <a:lnTo>
                    <a:pt x="353378" y="0"/>
                  </a:lnTo>
                  <a:lnTo>
                    <a:pt x="353378" y="314325"/>
                  </a:lnTo>
                  <a:lnTo>
                    <a:pt x="292418" y="314325"/>
                  </a:lnTo>
                  <a:lnTo>
                    <a:pt x="292418" y="54292"/>
                  </a:lnTo>
                  <a:lnTo>
                    <a:pt x="291465" y="54292"/>
                  </a:lnTo>
                  <a:lnTo>
                    <a:pt x="206693" y="314325"/>
                  </a:lnTo>
                  <a:lnTo>
                    <a:pt x="146685" y="314325"/>
                  </a:lnTo>
                  <a:lnTo>
                    <a:pt x="61913" y="54292"/>
                  </a:lnTo>
                  <a:lnTo>
                    <a:pt x="60960" y="55245"/>
                  </a:lnTo>
                  <a:lnTo>
                    <a:pt x="60960" y="314325"/>
                  </a:lnTo>
                  <a:lnTo>
                    <a:pt x="953" y="314325"/>
                  </a:lnTo>
                  <a:lnTo>
                    <a:pt x="953" y="0"/>
                  </a:ln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/>
            </a:p>
          </p:txBody>
        </p:sp>
      </p:grpSp>
      <p:grpSp>
        <p:nvGrpSpPr>
          <p:cNvPr id="21" name="LOGO Heinz Nixdorf Institut - farbig">
            <a:extLst>
              <a:ext uri="{FF2B5EF4-FFF2-40B4-BE49-F238E27FC236}">
                <a16:creationId xmlns:a16="http://schemas.microsoft.com/office/drawing/2014/main" id="{0BC1AD10-20B7-49AE-A73B-851A84EEA052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8668800" y="3915575"/>
            <a:ext cx="2646000" cy="413425"/>
            <a:chOff x="-1" y="-2228542"/>
            <a:chExt cx="12188517" cy="1904397"/>
          </a:xfrm>
        </p:grpSpPr>
        <p:grpSp>
          <p:nvGrpSpPr>
            <p:cNvPr id="22" name="Gruppieren 21">
              <a:extLst>
                <a:ext uri="{FF2B5EF4-FFF2-40B4-BE49-F238E27FC236}">
                  <a16:creationId xmlns:a16="http://schemas.microsoft.com/office/drawing/2014/main" id="{B090DEB6-A7D3-4CCB-A233-CC1BA682E764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-1" y="-2228542"/>
              <a:ext cx="12188517" cy="799107"/>
              <a:chOff x="-1" y="-2228542"/>
              <a:chExt cx="12188517" cy="799107"/>
            </a:xfrm>
            <a:solidFill>
              <a:schemeClr val="tx2"/>
            </a:solidFill>
          </p:grpSpPr>
          <p:sp>
            <p:nvSpPr>
              <p:cNvPr id="47" name="Freihandform: Form 46">
                <a:extLst>
                  <a:ext uri="{FF2B5EF4-FFF2-40B4-BE49-F238E27FC236}">
                    <a16:creationId xmlns:a16="http://schemas.microsoft.com/office/drawing/2014/main" id="{F636B2D4-EB57-49F9-BDD2-933BEEF83FC2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-1" y="-2218115"/>
                <a:ext cx="530842" cy="767825"/>
              </a:xfrm>
              <a:custGeom>
                <a:avLst/>
                <a:gdLst>
                  <a:gd name="connsiteX0" fmla="*/ 379173 w 530842"/>
                  <a:gd name="connsiteY0" fmla="*/ 776357 h 767825"/>
                  <a:gd name="connsiteX1" fmla="*/ 379173 w 530842"/>
                  <a:gd name="connsiteY1" fmla="*/ 430361 h 767825"/>
                  <a:gd name="connsiteX2" fmla="*/ 155461 w 530842"/>
                  <a:gd name="connsiteY2" fmla="*/ 430361 h 767825"/>
                  <a:gd name="connsiteX3" fmla="*/ 155461 w 530842"/>
                  <a:gd name="connsiteY3" fmla="*/ 776357 h 767825"/>
                  <a:gd name="connsiteX4" fmla="*/ 0 w 530842"/>
                  <a:gd name="connsiteY4" fmla="*/ 776357 h 767825"/>
                  <a:gd name="connsiteX5" fmla="*/ 0 w 530842"/>
                  <a:gd name="connsiteY5" fmla="*/ 0 h 767825"/>
                  <a:gd name="connsiteX6" fmla="*/ 155461 w 530842"/>
                  <a:gd name="connsiteY6" fmla="*/ 0 h 767825"/>
                  <a:gd name="connsiteX7" fmla="*/ 155461 w 530842"/>
                  <a:gd name="connsiteY7" fmla="*/ 301443 h 767825"/>
                  <a:gd name="connsiteX8" fmla="*/ 379173 w 530842"/>
                  <a:gd name="connsiteY8" fmla="*/ 301443 h 767825"/>
                  <a:gd name="connsiteX9" fmla="*/ 379173 w 530842"/>
                  <a:gd name="connsiteY9" fmla="*/ 0 h 767825"/>
                  <a:gd name="connsiteX10" fmla="*/ 537478 w 530842"/>
                  <a:gd name="connsiteY10" fmla="*/ 0 h 767825"/>
                  <a:gd name="connsiteX11" fmla="*/ 537478 w 530842"/>
                  <a:gd name="connsiteY11" fmla="*/ 776357 h 767825"/>
                  <a:gd name="connsiteX12" fmla="*/ 379173 w 530842"/>
                  <a:gd name="connsiteY12" fmla="*/ 776357 h 767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30842" h="767825">
                    <a:moveTo>
                      <a:pt x="379173" y="776357"/>
                    </a:moveTo>
                    <a:lnTo>
                      <a:pt x="379173" y="430361"/>
                    </a:lnTo>
                    <a:lnTo>
                      <a:pt x="155461" y="430361"/>
                    </a:lnTo>
                    <a:lnTo>
                      <a:pt x="155461" y="776357"/>
                    </a:lnTo>
                    <a:lnTo>
                      <a:pt x="0" y="776357"/>
                    </a:lnTo>
                    <a:lnTo>
                      <a:pt x="0" y="0"/>
                    </a:lnTo>
                    <a:lnTo>
                      <a:pt x="155461" y="0"/>
                    </a:lnTo>
                    <a:lnTo>
                      <a:pt x="155461" y="301443"/>
                    </a:lnTo>
                    <a:lnTo>
                      <a:pt x="379173" y="301443"/>
                    </a:lnTo>
                    <a:lnTo>
                      <a:pt x="379173" y="0"/>
                    </a:lnTo>
                    <a:lnTo>
                      <a:pt x="537478" y="0"/>
                    </a:lnTo>
                    <a:lnTo>
                      <a:pt x="537478" y="776357"/>
                    </a:lnTo>
                    <a:lnTo>
                      <a:pt x="379173" y="776357"/>
                    </a:lnTo>
                    <a:close/>
                  </a:path>
                </a:pathLst>
              </a:custGeom>
              <a:grpFill/>
              <a:ln w="9473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48" name="Freihandform: Form 47">
                <a:extLst>
                  <a:ext uri="{FF2B5EF4-FFF2-40B4-BE49-F238E27FC236}">
                    <a16:creationId xmlns:a16="http://schemas.microsoft.com/office/drawing/2014/main" id="{0C1D4F98-6A52-4389-AB19-B268AE98AE32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705261" y="-2218115"/>
                <a:ext cx="445528" cy="767825"/>
              </a:xfrm>
              <a:custGeom>
                <a:avLst/>
                <a:gdLst>
                  <a:gd name="connsiteX0" fmla="*/ 0 w 445528"/>
                  <a:gd name="connsiteY0" fmla="*/ 776357 h 767825"/>
                  <a:gd name="connsiteX1" fmla="*/ 0 w 445528"/>
                  <a:gd name="connsiteY1" fmla="*/ 0 h 767825"/>
                  <a:gd name="connsiteX2" fmla="*/ 441737 w 445528"/>
                  <a:gd name="connsiteY2" fmla="*/ 0 h 767825"/>
                  <a:gd name="connsiteX3" fmla="*/ 421830 w 445528"/>
                  <a:gd name="connsiteY3" fmla="*/ 127023 h 767825"/>
                  <a:gd name="connsiteX4" fmla="*/ 156409 w 445528"/>
                  <a:gd name="connsiteY4" fmla="*/ 127023 h 767825"/>
                  <a:gd name="connsiteX5" fmla="*/ 156409 w 445528"/>
                  <a:gd name="connsiteY5" fmla="*/ 307130 h 767825"/>
                  <a:gd name="connsiteX6" fmla="*/ 379173 w 445528"/>
                  <a:gd name="connsiteY6" fmla="*/ 307130 h 767825"/>
                  <a:gd name="connsiteX7" fmla="*/ 379173 w 445528"/>
                  <a:gd name="connsiteY7" fmla="*/ 434153 h 767825"/>
                  <a:gd name="connsiteX8" fmla="*/ 158305 w 445528"/>
                  <a:gd name="connsiteY8" fmla="*/ 434153 h 767825"/>
                  <a:gd name="connsiteX9" fmla="*/ 158305 w 445528"/>
                  <a:gd name="connsiteY9" fmla="*/ 641750 h 767825"/>
                  <a:gd name="connsiteX10" fmla="*/ 452164 w 445528"/>
                  <a:gd name="connsiteY10" fmla="*/ 641750 h 767825"/>
                  <a:gd name="connsiteX11" fmla="*/ 452164 w 445528"/>
                  <a:gd name="connsiteY11" fmla="*/ 776357 h 767825"/>
                  <a:gd name="connsiteX12" fmla="*/ 0 w 445528"/>
                  <a:gd name="connsiteY12" fmla="*/ 776357 h 767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5528" h="767825">
                    <a:moveTo>
                      <a:pt x="0" y="776357"/>
                    </a:moveTo>
                    <a:lnTo>
                      <a:pt x="0" y="0"/>
                    </a:lnTo>
                    <a:lnTo>
                      <a:pt x="441737" y="0"/>
                    </a:lnTo>
                    <a:lnTo>
                      <a:pt x="421830" y="127023"/>
                    </a:lnTo>
                    <a:lnTo>
                      <a:pt x="156409" y="127023"/>
                    </a:lnTo>
                    <a:lnTo>
                      <a:pt x="156409" y="307130"/>
                    </a:lnTo>
                    <a:lnTo>
                      <a:pt x="379173" y="307130"/>
                    </a:lnTo>
                    <a:lnTo>
                      <a:pt x="379173" y="434153"/>
                    </a:lnTo>
                    <a:lnTo>
                      <a:pt x="158305" y="434153"/>
                    </a:lnTo>
                    <a:lnTo>
                      <a:pt x="158305" y="641750"/>
                    </a:lnTo>
                    <a:lnTo>
                      <a:pt x="452164" y="641750"/>
                    </a:lnTo>
                    <a:lnTo>
                      <a:pt x="452164" y="776357"/>
                    </a:lnTo>
                    <a:lnTo>
                      <a:pt x="0" y="776357"/>
                    </a:lnTo>
                    <a:close/>
                  </a:path>
                </a:pathLst>
              </a:custGeom>
              <a:grpFill/>
              <a:ln w="9473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49" name="Freihandform: Form 48">
                <a:extLst>
                  <a:ext uri="{FF2B5EF4-FFF2-40B4-BE49-F238E27FC236}">
                    <a16:creationId xmlns:a16="http://schemas.microsoft.com/office/drawing/2014/main" id="{76462FD8-EBE6-4B13-B9D9-38717D2328A6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1269281" y="-2218115"/>
                <a:ext cx="161149" cy="767825"/>
              </a:xfrm>
              <a:custGeom>
                <a:avLst/>
                <a:gdLst>
                  <a:gd name="connsiteX0" fmla="*/ 0 w 161148"/>
                  <a:gd name="connsiteY0" fmla="*/ 776357 h 767825"/>
                  <a:gd name="connsiteX1" fmla="*/ 0 w 161148"/>
                  <a:gd name="connsiteY1" fmla="*/ 0 h 767825"/>
                  <a:gd name="connsiteX2" fmla="*/ 163045 w 161148"/>
                  <a:gd name="connsiteY2" fmla="*/ 0 h 767825"/>
                  <a:gd name="connsiteX3" fmla="*/ 163045 w 161148"/>
                  <a:gd name="connsiteY3" fmla="*/ 776357 h 767825"/>
                  <a:gd name="connsiteX4" fmla="*/ 0 w 161148"/>
                  <a:gd name="connsiteY4" fmla="*/ 776357 h 767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1148" h="767825">
                    <a:moveTo>
                      <a:pt x="0" y="776357"/>
                    </a:moveTo>
                    <a:lnTo>
                      <a:pt x="0" y="0"/>
                    </a:lnTo>
                    <a:lnTo>
                      <a:pt x="163045" y="0"/>
                    </a:lnTo>
                    <a:lnTo>
                      <a:pt x="163045" y="776357"/>
                    </a:lnTo>
                    <a:lnTo>
                      <a:pt x="0" y="776357"/>
                    </a:lnTo>
                    <a:close/>
                  </a:path>
                </a:pathLst>
              </a:custGeom>
              <a:grpFill/>
              <a:ln w="9473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50" name="Freihandform: Form 49">
                <a:extLst>
                  <a:ext uri="{FF2B5EF4-FFF2-40B4-BE49-F238E27FC236}">
                    <a16:creationId xmlns:a16="http://schemas.microsoft.com/office/drawing/2014/main" id="{2B0EF198-E1FF-4550-9244-9D7DF8F118AF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1600109" y="-2218115"/>
                <a:ext cx="530842" cy="767825"/>
              </a:xfrm>
              <a:custGeom>
                <a:avLst/>
                <a:gdLst>
                  <a:gd name="connsiteX0" fmla="*/ 376329 w 530842"/>
                  <a:gd name="connsiteY0" fmla="*/ 776357 h 767825"/>
                  <a:gd name="connsiteX1" fmla="*/ 243619 w 530842"/>
                  <a:gd name="connsiteY1" fmla="*/ 478706 h 767825"/>
                  <a:gd name="connsiteX2" fmla="*/ 138398 w 530842"/>
                  <a:gd name="connsiteY2" fmla="*/ 223712 h 767825"/>
                  <a:gd name="connsiteX3" fmla="*/ 145982 w 530842"/>
                  <a:gd name="connsiteY3" fmla="*/ 443632 h 767825"/>
                  <a:gd name="connsiteX4" fmla="*/ 150721 w 530842"/>
                  <a:gd name="connsiteY4" fmla="*/ 775409 h 767825"/>
                  <a:gd name="connsiteX5" fmla="*/ 0 w 530842"/>
                  <a:gd name="connsiteY5" fmla="*/ 775409 h 767825"/>
                  <a:gd name="connsiteX6" fmla="*/ 0 w 530842"/>
                  <a:gd name="connsiteY6" fmla="*/ 0 h 767825"/>
                  <a:gd name="connsiteX7" fmla="*/ 172524 w 530842"/>
                  <a:gd name="connsiteY7" fmla="*/ 0 h 767825"/>
                  <a:gd name="connsiteX8" fmla="*/ 321349 w 530842"/>
                  <a:gd name="connsiteY8" fmla="*/ 310922 h 767825"/>
                  <a:gd name="connsiteX9" fmla="*/ 406663 w 530842"/>
                  <a:gd name="connsiteY9" fmla="*/ 530842 h 767825"/>
                  <a:gd name="connsiteX10" fmla="*/ 394340 w 530842"/>
                  <a:gd name="connsiteY10" fmla="*/ 317557 h 767825"/>
                  <a:gd name="connsiteX11" fmla="*/ 390548 w 530842"/>
                  <a:gd name="connsiteY11" fmla="*/ 0 h 767825"/>
                  <a:gd name="connsiteX12" fmla="*/ 539374 w 530842"/>
                  <a:gd name="connsiteY12" fmla="*/ 0 h 767825"/>
                  <a:gd name="connsiteX13" fmla="*/ 539374 w 530842"/>
                  <a:gd name="connsiteY13" fmla="*/ 776357 h 767825"/>
                  <a:gd name="connsiteX14" fmla="*/ 376329 w 530842"/>
                  <a:gd name="connsiteY14" fmla="*/ 776357 h 767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30842" h="767825">
                    <a:moveTo>
                      <a:pt x="376329" y="776357"/>
                    </a:moveTo>
                    <a:lnTo>
                      <a:pt x="243619" y="478706"/>
                    </a:lnTo>
                    <a:cubicBezTo>
                      <a:pt x="200014" y="381069"/>
                      <a:pt x="153565" y="272057"/>
                      <a:pt x="138398" y="223712"/>
                    </a:cubicBezTo>
                    <a:cubicBezTo>
                      <a:pt x="144086" y="287224"/>
                      <a:pt x="145034" y="379173"/>
                      <a:pt x="145982" y="443632"/>
                    </a:cubicBezTo>
                    <a:lnTo>
                      <a:pt x="150721" y="775409"/>
                    </a:lnTo>
                    <a:lnTo>
                      <a:pt x="0" y="775409"/>
                    </a:lnTo>
                    <a:lnTo>
                      <a:pt x="0" y="0"/>
                    </a:lnTo>
                    <a:lnTo>
                      <a:pt x="172524" y="0"/>
                    </a:lnTo>
                    <a:lnTo>
                      <a:pt x="321349" y="310922"/>
                    </a:lnTo>
                    <a:cubicBezTo>
                      <a:pt x="360214" y="393392"/>
                      <a:pt x="390548" y="474914"/>
                      <a:pt x="406663" y="530842"/>
                    </a:cubicBezTo>
                    <a:cubicBezTo>
                      <a:pt x="400976" y="470174"/>
                      <a:pt x="395288" y="370642"/>
                      <a:pt x="394340" y="317557"/>
                    </a:cubicBezTo>
                    <a:lnTo>
                      <a:pt x="390548" y="0"/>
                    </a:lnTo>
                    <a:lnTo>
                      <a:pt x="539374" y="0"/>
                    </a:lnTo>
                    <a:lnTo>
                      <a:pt x="539374" y="776357"/>
                    </a:lnTo>
                    <a:lnTo>
                      <a:pt x="376329" y="776357"/>
                    </a:lnTo>
                    <a:close/>
                  </a:path>
                </a:pathLst>
              </a:custGeom>
              <a:grpFill/>
              <a:ln w="9473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51" name="Freihandform: Form 50">
                <a:extLst>
                  <a:ext uri="{FF2B5EF4-FFF2-40B4-BE49-F238E27FC236}">
                    <a16:creationId xmlns:a16="http://schemas.microsoft.com/office/drawing/2014/main" id="{897BD412-BD0A-45A0-9AEE-23B675429270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2262714" y="-2218115"/>
                <a:ext cx="521363" cy="767825"/>
              </a:xfrm>
              <a:custGeom>
                <a:avLst/>
                <a:gdLst>
                  <a:gd name="connsiteX0" fmla="*/ 484393 w 521362"/>
                  <a:gd name="connsiteY0" fmla="*/ 776357 h 767825"/>
                  <a:gd name="connsiteX1" fmla="*/ 0 w 521362"/>
                  <a:gd name="connsiteY1" fmla="*/ 776357 h 767825"/>
                  <a:gd name="connsiteX2" fmla="*/ 0 w 521362"/>
                  <a:gd name="connsiteY2" fmla="*/ 666396 h 767825"/>
                  <a:gd name="connsiteX3" fmla="*/ 286276 w 521362"/>
                  <a:gd name="connsiteY3" fmla="*/ 194326 h 767825"/>
                  <a:gd name="connsiteX4" fmla="*/ 334620 w 521362"/>
                  <a:gd name="connsiteY4" fmla="*/ 124179 h 767825"/>
                  <a:gd name="connsiteX5" fmla="*/ 254994 w 521362"/>
                  <a:gd name="connsiteY5" fmla="*/ 129867 h 767825"/>
                  <a:gd name="connsiteX6" fmla="*/ 16115 w 521362"/>
                  <a:gd name="connsiteY6" fmla="*/ 129867 h 767825"/>
                  <a:gd name="connsiteX7" fmla="*/ 50240 w 521362"/>
                  <a:gd name="connsiteY7" fmla="*/ 0 h 767825"/>
                  <a:gd name="connsiteX8" fmla="*/ 514727 w 521362"/>
                  <a:gd name="connsiteY8" fmla="*/ 0 h 767825"/>
                  <a:gd name="connsiteX9" fmla="*/ 514727 w 521362"/>
                  <a:gd name="connsiteY9" fmla="*/ 112804 h 767825"/>
                  <a:gd name="connsiteX10" fmla="*/ 226556 w 521362"/>
                  <a:gd name="connsiteY10" fmla="*/ 599093 h 767825"/>
                  <a:gd name="connsiteX11" fmla="*/ 186743 w 521362"/>
                  <a:gd name="connsiteY11" fmla="*/ 654073 h 767825"/>
                  <a:gd name="connsiteX12" fmla="*/ 263525 w 521362"/>
                  <a:gd name="connsiteY12" fmla="*/ 649334 h 767825"/>
                  <a:gd name="connsiteX13" fmla="*/ 525155 w 521362"/>
                  <a:gd name="connsiteY13" fmla="*/ 649334 h 767825"/>
                  <a:gd name="connsiteX14" fmla="*/ 484393 w 521362"/>
                  <a:gd name="connsiteY14" fmla="*/ 776357 h 767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21362" h="767825">
                    <a:moveTo>
                      <a:pt x="484393" y="776357"/>
                    </a:moveTo>
                    <a:lnTo>
                      <a:pt x="0" y="776357"/>
                    </a:lnTo>
                    <a:lnTo>
                      <a:pt x="0" y="666396"/>
                    </a:lnTo>
                    <a:lnTo>
                      <a:pt x="286276" y="194326"/>
                    </a:lnTo>
                    <a:cubicBezTo>
                      <a:pt x="307130" y="158305"/>
                      <a:pt x="334620" y="124179"/>
                      <a:pt x="334620" y="124179"/>
                    </a:cubicBezTo>
                    <a:cubicBezTo>
                      <a:pt x="334620" y="124179"/>
                      <a:pt x="302391" y="129867"/>
                      <a:pt x="254994" y="129867"/>
                    </a:cubicBezTo>
                    <a:lnTo>
                      <a:pt x="16115" y="129867"/>
                    </a:lnTo>
                    <a:lnTo>
                      <a:pt x="50240" y="0"/>
                    </a:lnTo>
                    <a:lnTo>
                      <a:pt x="514727" y="0"/>
                    </a:lnTo>
                    <a:lnTo>
                      <a:pt x="514727" y="112804"/>
                    </a:lnTo>
                    <a:lnTo>
                      <a:pt x="226556" y="599093"/>
                    </a:lnTo>
                    <a:cubicBezTo>
                      <a:pt x="209493" y="626583"/>
                      <a:pt x="186743" y="654073"/>
                      <a:pt x="186743" y="654073"/>
                    </a:cubicBezTo>
                    <a:cubicBezTo>
                      <a:pt x="186743" y="654073"/>
                      <a:pt x="232244" y="649334"/>
                      <a:pt x="263525" y="649334"/>
                    </a:cubicBezTo>
                    <a:lnTo>
                      <a:pt x="525155" y="649334"/>
                    </a:lnTo>
                    <a:lnTo>
                      <a:pt x="484393" y="776357"/>
                    </a:lnTo>
                    <a:close/>
                  </a:path>
                </a:pathLst>
              </a:custGeom>
              <a:grpFill/>
              <a:ln w="9473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52" name="Freihandform: Form 51">
                <a:extLst>
                  <a:ext uri="{FF2B5EF4-FFF2-40B4-BE49-F238E27FC236}">
                    <a16:creationId xmlns:a16="http://schemas.microsoft.com/office/drawing/2014/main" id="{A105C218-DA6F-4B24-A40E-DBD39BDB9D1F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3162302" y="-2218115"/>
                <a:ext cx="540322" cy="767825"/>
              </a:xfrm>
              <a:custGeom>
                <a:avLst/>
                <a:gdLst>
                  <a:gd name="connsiteX0" fmla="*/ 376329 w 540321"/>
                  <a:gd name="connsiteY0" fmla="*/ 776357 h 767825"/>
                  <a:gd name="connsiteX1" fmla="*/ 243619 w 540321"/>
                  <a:gd name="connsiteY1" fmla="*/ 478706 h 767825"/>
                  <a:gd name="connsiteX2" fmla="*/ 138398 w 540321"/>
                  <a:gd name="connsiteY2" fmla="*/ 223712 h 767825"/>
                  <a:gd name="connsiteX3" fmla="*/ 145982 w 540321"/>
                  <a:gd name="connsiteY3" fmla="*/ 443632 h 767825"/>
                  <a:gd name="connsiteX4" fmla="*/ 150721 w 540321"/>
                  <a:gd name="connsiteY4" fmla="*/ 775409 h 767825"/>
                  <a:gd name="connsiteX5" fmla="*/ 0 w 540321"/>
                  <a:gd name="connsiteY5" fmla="*/ 775409 h 767825"/>
                  <a:gd name="connsiteX6" fmla="*/ 0 w 540321"/>
                  <a:gd name="connsiteY6" fmla="*/ 0 h 767825"/>
                  <a:gd name="connsiteX7" fmla="*/ 173472 w 540321"/>
                  <a:gd name="connsiteY7" fmla="*/ 0 h 767825"/>
                  <a:gd name="connsiteX8" fmla="*/ 322297 w 540321"/>
                  <a:gd name="connsiteY8" fmla="*/ 310922 h 767825"/>
                  <a:gd name="connsiteX9" fmla="*/ 407611 w 540321"/>
                  <a:gd name="connsiteY9" fmla="*/ 530842 h 767825"/>
                  <a:gd name="connsiteX10" fmla="*/ 395288 w 540321"/>
                  <a:gd name="connsiteY10" fmla="*/ 317557 h 767825"/>
                  <a:gd name="connsiteX11" fmla="*/ 391496 w 540321"/>
                  <a:gd name="connsiteY11" fmla="*/ 0 h 767825"/>
                  <a:gd name="connsiteX12" fmla="*/ 540322 w 540321"/>
                  <a:gd name="connsiteY12" fmla="*/ 0 h 767825"/>
                  <a:gd name="connsiteX13" fmla="*/ 540322 w 540321"/>
                  <a:gd name="connsiteY13" fmla="*/ 776357 h 767825"/>
                  <a:gd name="connsiteX14" fmla="*/ 376329 w 540321"/>
                  <a:gd name="connsiteY14" fmla="*/ 776357 h 767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40321" h="767825">
                    <a:moveTo>
                      <a:pt x="376329" y="776357"/>
                    </a:moveTo>
                    <a:lnTo>
                      <a:pt x="243619" y="478706"/>
                    </a:lnTo>
                    <a:cubicBezTo>
                      <a:pt x="200014" y="381069"/>
                      <a:pt x="153565" y="272057"/>
                      <a:pt x="138398" y="223712"/>
                    </a:cubicBezTo>
                    <a:cubicBezTo>
                      <a:pt x="144086" y="287224"/>
                      <a:pt x="145034" y="379173"/>
                      <a:pt x="145982" y="443632"/>
                    </a:cubicBezTo>
                    <a:lnTo>
                      <a:pt x="150721" y="775409"/>
                    </a:lnTo>
                    <a:lnTo>
                      <a:pt x="0" y="775409"/>
                    </a:lnTo>
                    <a:lnTo>
                      <a:pt x="0" y="0"/>
                    </a:lnTo>
                    <a:lnTo>
                      <a:pt x="173472" y="0"/>
                    </a:lnTo>
                    <a:lnTo>
                      <a:pt x="322297" y="310922"/>
                    </a:lnTo>
                    <a:cubicBezTo>
                      <a:pt x="361162" y="393392"/>
                      <a:pt x="391496" y="474914"/>
                      <a:pt x="407611" y="530842"/>
                    </a:cubicBezTo>
                    <a:cubicBezTo>
                      <a:pt x="401923" y="470174"/>
                      <a:pt x="396236" y="370642"/>
                      <a:pt x="395288" y="317557"/>
                    </a:cubicBezTo>
                    <a:lnTo>
                      <a:pt x="391496" y="0"/>
                    </a:lnTo>
                    <a:lnTo>
                      <a:pt x="540322" y="0"/>
                    </a:lnTo>
                    <a:lnTo>
                      <a:pt x="540322" y="776357"/>
                    </a:lnTo>
                    <a:lnTo>
                      <a:pt x="376329" y="776357"/>
                    </a:lnTo>
                    <a:close/>
                  </a:path>
                </a:pathLst>
              </a:custGeom>
              <a:grpFill/>
              <a:ln w="9473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53" name="Freihandform: Form 52">
                <a:extLst>
                  <a:ext uri="{FF2B5EF4-FFF2-40B4-BE49-F238E27FC236}">
                    <a16:creationId xmlns:a16="http://schemas.microsoft.com/office/drawing/2014/main" id="{EF6B6D71-6A00-4483-BDB2-19D0196E793C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3868512" y="-2218115"/>
                <a:ext cx="161149" cy="767825"/>
              </a:xfrm>
              <a:custGeom>
                <a:avLst/>
                <a:gdLst>
                  <a:gd name="connsiteX0" fmla="*/ 0 w 161148"/>
                  <a:gd name="connsiteY0" fmla="*/ 776357 h 767825"/>
                  <a:gd name="connsiteX1" fmla="*/ 0 w 161148"/>
                  <a:gd name="connsiteY1" fmla="*/ 0 h 767825"/>
                  <a:gd name="connsiteX2" fmla="*/ 163044 w 161148"/>
                  <a:gd name="connsiteY2" fmla="*/ 0 h 767825"/>
                  <a:gd name="connsiteX3" fmla="*/ 163044 w 161148"/>
                  <a:gd name="connsiteY3" fmla="*/ 776357 h 767825"/>
                  <a:gd name="connsiteX4" fmla="*/ 0 w 161148"/>
                  <a:gd name="connsiteY4" fmla="*/ 776357 h 767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1148" h="767825">
                    <a:moveTo>
                      <a:pt x="0" y="776357"/>
                    </a:moveTo>
                    <a:lnTo>
                      <a:pt x="0" y="0"/>
                    </a:lnTo>
                    <a:lnTo>
                      <a:pt x="163044" y="0"/>
                    </a:lnTo>
                    <a:lnTo>
                      <a:pt x="163044" y="776357"/>
                    </a:lnTo>
                    <a:lnTo>
                      <a:pt x="0" y="776357"/>
                    </a:lnTo>
                    <a:close/>
                  </a:path>
                </a:pathLst>
              </a:custGeom>
              <a:grpFill/>
              <a:ln w="9473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54" name="Freihandform: Form 53">
                <a:extLst>
                  <a:ext uri="{FF2B5EF4-FFF2-40B4-BE49-F238E27FC236}">
                    <a16:creationId xmlns:a16="http://schemas.microsoft.com/office/drawing/2014/main" id="{09D2FAFE-5E3F-4CA5-9866-103458769C11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4104547" y="-2218115"/>
                <a:ext cx="331776" cy="767825"/>
              </a:xfrm>
              <a:custGeom>
                <a:avLst/>
                <a:gdLst>
                  <a:gd name="connsiteX0" fmla="*/ 332724 w 331776"/>
                  <a:gd name="connsiteY0" fmla="*/ 502404 h 767825"/>
                  <a:gd name="connsiteX1" fmla="*/ 194326 w 331776"/>
                  <a:gd name="connsiteY1" fmla="*/ 776357 h 767825"/>
                  <a:gd name="connsiteX2" fmla="*/ 0 w 331776"/>
                  <a:gd name="connsiteY2" fmla="*/ 776357 h 767825"/>
                  <a:gd name="connsiteX3" fmla="*/ 224660 w 331776"/>
                  <a:gd name="connsiteY3" fmla="*/ 361162 h 767825"/>
                  <a:gd name="connsiteX4" fmla="*/ 34126 w 331776"/>
                  <a:gd name="connsiteY4" fmla="*/ 0 h 767825"/>
                  <a:gd name="connsiteX5" fmla="*/ 225608 w 331776"/>
                  <a:gd name="connsiteY5" fmla="*/ 0 h 767825"/>
                  <a:gd name="connsiteX6" fmla="*/ 333672 w 331776"/>
                  <a:gd name="connsiteY6" fmla="*/ 208545 h 767825"/>
                  <a:gd name="connsiteX7" fmla="*/ 333672 w 331776"/>
                  <a:gd name="connsiteY7" fmla="*/ 502404 h 767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31776" h="767825">
                    <a:moveTo>
                      <a:pt x="332724" y="502404"/>
                    </a:moveTo>
                    <a:lnTo>
                      <a:pt x="194326" y="776357"/>
                    </a:lnTo>
                    <a:lnTo>
                      <a:pt x="0" y="776357"/>
                    </a:lnTo>
                    <a:lnTo>
                      <a:pt x="224660" y="361162"/>
                    </a:lnTo>
                    <a:lnTo>
                      <a:pt x="34126" y="0"/>
                    </a:lnTo>
                    <a:lnTo>
                      <a:pt x="225608" y="0"/>
                    </a:lnTo>
                    <a:lnTo>
                      <a:pt x="333672" y="208545"/>
                    </a:lnTo>
                    <a:lnTo>
                      <a:pt x="333672" y="502404"/>
                    </a:lnTo>
                    <a:close/>
                  </a:path>
                </a:pathLst>
              </a:custGeom>
              <a:grpFill/>
              <a:ln w="9473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55" name="Freihandform: Form 54">
                <a:extLst>
                  <a:ext uri="{FF2B5EF4-FFF2-40B4-BE49-F238E27FC236}">
                    <a16:creationId xmlns:a16="http://schemas.microsoft.com/office/drawing/2014/main" id="{DC82CD16-2C6C-4249-90AA-66906EB1A13B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4509314" y="-2217167"/>
                <a:ext cx="331776" cy="767825"/>
              </a:xfrm>
              <a:custGeom>
                <a:avLst/>
                <a:gdLst>
                  <a:gd name="connsiteX0" fmla="*/ 143138 w 331776"/>
                  <a:gd name="connsiteY0" fmla="*/ 776357 h 767825"/>
                  <a:gd name="connsiteX1" fmla="*/ 0 w 331776"/>
                  <a:gd name="connsiteY1" fmla="*/ 502404 h 767825"/>
                  <a:gd name="connsiteX2" fmla="*/ 0 w 331776"/>
                  <a:gd name="connsiteY2" fmla="*/ 208545 h 767825"/>
                  <a:gd name="connsiteX3" fmla="*/ 106168 w 331776"/>
                  <a:gd name="connsiteY3" fmla="*/ 0 h 767825"/>
                  <a:gd name="connsiteX4" fmla="*/ 292911 w 331776"/>
                  <a:gd name="connsiteY4" fmla="*/ 0 h 767825"/>
                  <a:gd name="connsiteX5" fmla="*/ 109012 w 331776"/>
                  <a:gd name="connsiteY5" fmla="*/ 350735 h 767825"/>
                  <a:gd name="connsiteX6" fmla="*/ 331776 w 331776"/>
                  <a:gd name="connsiteY6" fmla="*/ 776357 h 767825"/>
                  <a:gd name="connsiteX7" fmla="*/ 143138 w 331776"/>
                  <a:gd name="connsiteY7" fmla="*/ 776357 h 767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31776" h="767825">
                    <a:moveTo>
                      <a:pt x="143138" y="776357"/>
                    </a:moveTo>
                    <a:lnTo>
                      <a:pt x="0" y="502404"/>
                    </a:lnTo>
                    <a:lnTo>
                      <a:pt x="0" y="208545"/>
                    </a:lnTo>
                    <a:lnTo>
                      <a:pt x="106168" y="0"/>
                    </a:lnTo>
                    <a:lnTo>
                      <a:pt x="292911" y="0"/>
                    </a:lnTo>
                    <a:lnTo>
                      <a:pt x="109012" y="350735"/>
                    </a:lnTo>
                    <a:lnTo>
                      <a:pt x="331776" y="776357"/>
                    </a:lnTo>
                    <a:lnTo>
                      <a:pt x="143138" y="776357"/>
                    </a:lnTo>
                    <a:close/>
                  </a:path>
                </a:pathLst>
              </a:custGeom>
              <a:grpFill/>
              <a:ln w="9473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56" name="Freihandform: Form 55">
                <a:extLst>
                  <a:ext uri="{FF2B5EF4-FFF2-40B4-BE49-F238E27FC236}">
                    <a16:creationId xmlns:a16="http://schemas.microsoft.com/office/drawing/2014/main" id="{27708B50-12E7-4D8B-8704-82EDF02BE0AD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4914082" y="-2218115"/>
                <a:ext cx="559280" cy="767825"/>
              </a:xfrm>
              <a:custGeom>
                <a:avLst/>
                <a:gdLst>
                  <a:gd name="connsiteX0" fmla="*/ 489133 w 559280"/>
                  <a:gd name="connsiteY0" fmla="*/ 659761 h 767825"/>
                  <a:gd name="connsiteX1" fmla="*/ 300494 w 559280"/>
                  <a:gd name="connsiteY1" fmla="*/ 771617 h 767825"/>
                  <a:gd name="connsiteX2" fmla="*/ 188638 w 559280"/>
                  <a:gd name="connsiteY2" fmla="*/ 776357 h 767825"/>
                  <a:gd name="connsiteX3" fmla="*/ 0 w 559280"/>
                  <a:gd name="connsiteY3" fmla="*/ 776357 h 767825"/>
                  <a:gd name="connsiteX4" fmla="*/ 0 w 559280"/>
                  <a:gd name="connsiteY4" fmla="*/ 0 h 767825"/>
                  <a:gd name="connsiteX5" fmla="*/ 156409 w 559280"/>
                  <a:gd name="connsiteY5" fmla="*/ 0 h 767825"/>
                  <a:gd name="connsiteX6" fmla="*/ 291963 w 559280"/>
                  <a:gd name="connsiteY6" fmla="*/ 4740 h 767825"/>
                  <a:gd name="connsiteX7" fmla="*/ 461643 w 559280"/>
                  <a:gd name="connsiteY7" fmla="*/ 81522 h 767825"/>
                  <a:gd name="connsiteX8" fmla="*/ 567811 w 559280"/>
                  <a:gd name="connsiteY8" fmla="*/ 390548 h 767825"/>
                  <a:gd name="connsiteX9" fmla="*/ 489133 w 559280"/>
                  <a:gd name="connsiteY9" fmla="*/ 659761 h 767825"/>
                  <a:gd name="connsiteX10" fmla="*/ 352630 w 559280"/>
                  <a:gd name="connsiteY10" fmla="*/ 187691 h 767825"/>
                  <a:gd name="connsiteX11" fmla="*/ 229399 w 559280"/>
                  <a:gd name="connsiteY11" fmla="*/ 123231 h 767825"/>
                  <a:gd name="connsiteX12" fmla="*/ 158304 w 559280"/>
                  <a:gd name="connsiteY12" fmla="*/ 123231 h 767825"/>
                  <a:gd name="connsiteX13" fmla="*/ 158304 w 559280"/>
                  <a:gd name="connsiteY13" fmla="*/ 649334 h 767825"/>
                  <a:gd name="connsiteX14" fmla="*/ 241723 w 559280"/>
                  <a:gd name="connsiteY14" fmla="*/ 649334 h 767825"/>
                  <a:gd name="connsiteX15" fmla="*/ 391496 w 559280"/>
                  <a:gd name="connsiteY15" fmla="*/ 405715 h 767825"/>
                  <a:gd name="connsiteX16" fmla="*/ 352630 w 559280"/>
                  <a:gd name="connsiteY16" fmla="*/ 187691 h 767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559280" h="767825">
                    <a:moveTo>
                      <a:pt x="489133" y="659761"/>
                    </a:moveTo>
                    <a:cubicBezTo>
                      <a:pt x="442684" y="723272"/>
                      <a:pt x="372537" y="765929"/>
                      <a:pt x="300494" y="771617"/>
                    </a:cubicBezTo>
                    <a:cubicBezTo>
                      <a:pt x="271109" y="773513"/>
                      <a:pt x="235087" y="776357"/>
                      <a:pt x="188638" y="776357"/>
                    </a:cubicBezTo>
                    <a:lnTo>
                      <a:pt x="0" y="776357"/>
                    </a:lnTo>
                    <a:lnTo>
                      <a:pt x="0" y="0"/>
                    </a:lnTo>
                    <a:lnTo>
                      <a:pt x="156409" y="0"/>
                    </a:lnTo>
                    <a:cubicBezTo>
                      <a:pt x="200961" y="0"/>
                      <a:pt x="260681" y="1896"/>
                      <a:pt x="291963" y="4740"/>
                    </a:cubicBezTo>
                    <a:cubicBezTo>
                      <a:pt x="357370" y="10427"/>
                      <a:pt x="415194" y="35074"/>
                      <a:pt x="461643" y="81522"/>
                    </a:cubicBezTo>
                    <a:cubicBezTo>
                      <a:pt x="532738" y="151669"/>
                      <a:pt x="567811" y="251202"/>
                      <a:pt x="567811" y="390548"/>
                    </a:cubicBezTo>
                    <a:cubicBezTo>
                      <a:pt x="566864" y="496717"/>
                      <a:pt x="541269" y="589614"/>
                      <a:pt x="489133" y="659761"/>
                    </a:cubicBezTo>
                    <a:close/>
                    <a:moveTo>
                      <a:pt x="352630" y="187691"/>
                    </a:moveTo>
                    <a:cubicBezTo>
                      <a:pt x="327037" y="145034"/>
                      <a:pt x="291015" y="123231"/>
                      <a:pt x="229399" y="123231"/>
                    </a:cubicBezTo>
                    <a:lnTo>
                      <a:pt x="158304" y="123231"/>
                    </a:lnTo>
                    <a:lnTo>
                      <a:pt x="158304" y="649334"/>
                    </a:lnTo>
                    <a:lnTo>
                      <a:pt x="241723" y="649334"/>
                    </a:lnTo>
                    <a:cubicBezTo>
                      <a:pt x="344099" y="649334"/>
                      <a:pt x="391496" y="569707"/>
                      <a:pt x="391496" y="405715"/>
                    </a:cubicBezTo>
                    <a:cubicBezTo>
                      <a:pt x="391496" y="314714"/>
                      <a:pt x="383913" y="238879"/>
                      <a:pt x="352630" y="187691"/>
                    </a:cubicBezTo>
                    <a:close/>
                  </a:path>
                </a:pathLst>
              </a:custGeom>
              <a:grpFill/>
              <a:ln w="9473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57" name="Freihandform: Form 56">
                <a:extLst>
                  <a:ext uri="{FF2B5EF4-FFF2-40B4-BE49-F238E27FC236}">
                    <a16:creationId xmlns:a16="http://schemas.microsoft.com/office/drawing/2014/main" id="{BD7DC05A-1BD5-403D-85B2-AB6A44FE7C68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5582374" y="-2228542"/>
                <a:ext cx="663553" cy="796263"/>
              </a:xfrm>
              <a:custGeom>
                <a:avLst/>
                <a:gdLst>
                  <a:gd name="connsiteX0" fmla="*/ 496716 w 663552"/>
                  <a:gd name="connsiteY0" fmla="*/ 763086 h 796263"/>
                  <a:gd name="connsiteX1" fmla="*/ 341256 w 663552"/>
                  <a:gd name="connsiteY1" fmla="*/ 799107 h 796263"/>
                  <a:gd name="connsiteX2" fmla="*/ 89105 w 663552"/>
                  <a:gd name="connsiteY2" fmla="*/ 689147 h 796263"/>
                  <a:gd name="connsiteX3" fmla="*/ 0 w 663552"/>
                  <a:gd name="connsiteY3" fmla="*/ 400975 h 796263"/>
                  <a:gd name="connsiteX4" fmla="*/ 175368 w 663552"/>
                  <a:gd name="connsiteY4" fmla="*/ 37917 h 796263"/>
                  <a:gd name="connsiteX5" fmla="*/ 336516 w 663552"/>
                  <a:gd name="connsiteY5" fmla="*/ 0 h 796263"/>
                  <a:gd name="connsiteX6" fmla="*/ 670188 w 663552"/>
                  <a:gd name="connsiteY6" fmla="*/ 394340 h 796263"/>
                  <a:gd name="connsiteX7" fmla="*/ 496716 w 663552"/>
                  <a:gd name="connsiteY7" fmla="*/ 763086 h 796263"/>
                  <a:gd name="connsiteX8" fmla="*/ 469227 w 663552"/>
                  <a:gd name="connsiteY8" fmla="*/ 218972 h 796263"/>
                  <a:gd name="connsiteX9" fmla="*/ 332724 w 663552"/>
                  <a:gd name="connsiteY9" fmla="*/ 120387 h 796263"/>
                  <a:gd name="connsiteX10" fmla="*/ 212337 w 663552"/>
                  <a:gd name="connsiteY10" fmla="*/ 188639 h 796263"/>
                  <a:gd name="connsiteX11" fmla="*/ 173472 w 663552"/>
                  <a:gd name="connsiteY11" fmla="*/ 400975 h 796263"/>
                  <a:gd name="connsiteX12" fmla="*/ 242671 w 663552"/>
                  <a:gd name="connsiteY12" fmla="*/ 652178 h 796263"/>
                  <a:gd name="connsiteX13" fmla="*/ 335568 w 663552"/>
                  <a:gd name="connsiteY13" fmla="*/ 678720 h 796263"/>
                  <a:gd name="connsiteX14" fmla="*/ 490081 w 663552"/>
                  <a:gd name="connsiteY14" fmla="*/ 398132 h 796263"/>
                  <a:gd name="connsiteX15" fmla="*/ 469227 w 663552"/>
                  <a:gd name="connsiteY15" fmla="*/ 218972 h 7962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663552" h="796263">
                    <a:moveTo>
                      <a:pt x="496716" y="763086"/>
                    </a:moveTo>
                    <a:cubicBezTo>
                      <a:pt x="450268" y="788680"/>
                      <a:pt x="406663" y="799107"/>
                      <a:pt x="341256" y="799107"/>
                    </a:cubicBezTo>
                    <a:cubicBezTo>
                      <a:pt x="223712" y="799107"/>
                      <a:pt x="147877" y="766877"/>
                      <a:pt x="89105" y="689147"/>
                    </a:cubicBezTo>
                    <a:cubicBezTo>
                      <a:pt x="30333" y="613312"/>
                      <a:pt x="0" y="514727"/>
                      <a:pt x="0" y="400975"/>
                    </a:cubicBezTo>
                    <a:cubicBezTo>
                      <a:pt x="0" y="233191"/>
                      <a:pt x="63511" y="99533"/>
                      <a:pt x="175368" y="37917"/>
                    </a:cubicBezTo>
                    <a:cubicBezTo>
                      <a:pt x="220868" y="13271"/>
                      <a:pt x="277744" y="0"/>
                      <a:pt x="336516" y="0"/>
                    </a:cubicBezTo>
                    <a:cubicBezTo>
                      <a:pt x="543165" y="0"/>
                      <a:pt x="670188" y="150721"/>
                      <a:pt x="670188" y="394340"/>
                    </a:cubicBezTo>
                    <a:cubicBezTo>
                      <a:pt x="669240" y="569707"/>
                      <a:pt x="609521" y="701470"/>
                      <a:pt x="496716" y="763086"/>
                    </a:cubicBezTo>
                    <a:close/>
                    <a:moveTo>
                      <a:pt x="469227" y="218972"/>
                    </a:moveTo>
                    <a:cubicBezTo>
                      <a:pt x="456903" y="180107"/>
                      <a:pt x="415194" y="120387"/>
                      <a:pt x="332724" y="120387"/>
                    </a:cubicBezTo>
                    <a:cubicBezTo>
                      <a:pt x="280588" y="120387"/>
                      <a:pt x="234139" y="146930"/>
                      <a:pt x="212337" y="188639"/>
                    </a:cubicBezTo>
                    <a:cubicBezTo>
                      <a:pt x="185795" y="238879"/>
                      <a:pt x="173472" y="307130"/>
                      <a:pt x="173472" y="400975"/>
                    </a:cubicBezTo>
                    <a:cubicBezTo>
                      <a:pt x="173472" y="534634"/>
                      <a:pt x="196222" y="619000"/>
                      <a:pt x="242671" y="652178"/>
                    </a:cubicBezTo>
                    <a:cubicBezTo>
                      <a:pt x="267317" y="670188"/>
                      <a:pt x="298599" y="678720"/>
                      <a:pt x="335568" y="678720"/>
                    </a:cubicBezTo>
                    <a:cubicBezTo>
                      <a:pt x="443632" y="678720"/>
                      <a:pt x="490081" y="596249"/>
                      <a:pt x="490081" y="398132"/>
                    </a:cubicBezTo>
                    <a:cubicBezTo>
                      <a:pt x="490081" y="319453"/>
                      <a:pt x="483446" y="262577"/>
                      <a:pt x="469227" y="218972"/>
                    </a:cubicBezTo>
                    <a:close/>
                  </a:path>
                </a:pathLst>
              </a:custGeom>
              <a:grpFill/>
              <a:ln w="9473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58" name="Freihandform: Form 57">
                <a:extLst>
                  <a:ext uri="{FF2B5EF4-FFF2-40B4-BE49-F238E27FC236}">
                    <a16:creationId xmlns:a16="http://schemas.microsoft.com/office/drawing/2014/main" id="{15F857DA-534C-4169-95F0-8589F96535FB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6385273" y="-2218115"/>
                <a:ext cx="559280" cy="767825"/>
              </a:xfrm>
              <a:custGeom>
                <a:avLst/>
                <a:gdLst>
                  <a:gd name="connsiteX0" fmla="*/ 379173 w 559280"/>
                  <a:gd name="connsiteY0" fmla="*/ 776357 h 767825"/>
                  <a:gd name="connsiteX1" fmla="*/ 306183 w 559280"/>
                  <a:gd name="connsiteY1" fmla="*/ 649334 h 767825"/>
                  <a:gd name="connsiteX2" fmla="*/ 177264 w 559280"/>
                  <a:gd name="connsiteY2" fmla="*/ 459747 h 767825"/>
                  <a:gd name="connsiteX3" fmla="*/ 152618 w 559280"/>
                  <a:gd name="connsiteY3" fmla="*/ 453112 h 767825"/>
                  <a:gd name="connsiteX4" fmla="*/ 152618 w 559280"/>
                  <a:gd name="connsiteY4" fmla="*/ 776357 h 767825"/>
                  <a:gd name="connsiteX5" fmla="*/ 0 w 559280"/>
                  <a:gd name="connsiteY5" fmla="*/ 776357 h 767825"/>
                  <a:gd name="connsiteX6" fmla="*/ 0 w 559280"/>
                  <a:gd name="connsiteY6" fmla="*/ 0 h 767825"/>
                  <a:gd name="connsiteX7" fmla="*/ 289119 w 559280"/>
                  <a:gd name="connsiteY7" fmla="*/ 0 h 767825"/>
                  <a:gd name="connsiteX8" fmla="*/ 516623 w 559280"/>
                  <a:gd name="connsiteY8" fmla="*/ 227504 h 767825"/>
                  <a:gd name="connsiteX9" fmla="*/ 343152 w 559280"/>
                  <a:gd name="connsiteY9" fmla="*/ 441736 h 767825"/>
                  <a:gd name="connsiteX10" fmla="*/ 375382 w 559280"/>
                  <a:gd name="connsiteY10" fmla="*/ 473966 h 767825"/>
                  <a:gd name="connsiteX11" fmla="*/ 562125 w 559280"/>
                  <a:gd name="connsiteY11" fmla="*/ 775409 h 767825"/>
                  <a:gd name="connsiteX12" fmla="*/ 379173 w 559280"/>
                  <a:gd name="connsiteY12" fmla="*/ 775409 h 767825"/>
                  <a:gd name="connsiteX13" fmla="*/ 297651 w 559280"/>
                  <a:gd name="connsiteY13" fmla="*/ 136502 h 767825"/>
                  <a:gd name="connsiteX14" fmla="*/ 209493 w 559280"/>
                  <a:gd name="connsiteY14" fmla="*/ 125127 h 767825"/>
                  <a:gd name="connsiteX15" fmla="*/ 153565 w 559280"/>
                  <a:gd name="connsiteY15" fmla="*/ 125127 h 767825"/>
                  <a:gd name="connsiteX16" fmla="*/ 153565 w 559280"/>
                  <a:gd name="connsiteY16" fmla="*/ 335568 h 767825"/>
                  <a:gd name="connsiteX17" fmla="*/ 205701 w 559280"/>
                  <a:gd name="connsiteY17" fmla="*/ 335568 h 767825"/>
                  <a:gd name="connsiteX18" fmla="*/ 323245 w 559280"/>
                  <a:gd name="connsiteY18" fmla="*/ 309974 h 767825"/>
                  <a:gd name="connsiteX19" fmla="*/ 353579 w 559280"/>
                  <a:gd name="connsiteY19" fmla="*/ 232243 h 767825"/>
                  <a:gd name="connsiteX20" fmla="*/ 297651 w 559280"/>
                  <a:gd name="connsiteY20" fmla="*/ 136502 h 767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559280" h="767825">
                    <a:moveTo>
                      <a:pt x="379173" y="776357"/>
                    </a:moveTo>
                    <a:cubicBezTo>
                      <a:pt x="348840" y="725168"/>
                      <a:pt x="336516" y="703366"/>
                      <a:pt x="306183" y="649334"/>
                    </a:cubicBezTo>
                    <a:cubicBezTo>
                      <a:pt x="229400" y="509988"/>
                      <a:pt x="205701" y="472070"/>
                      <a:pt x="177264" y="459747"/>
                    </a:cubicBezTo>
                    <a:cubicBezTo>
                      <a:pt x="169680" y="455955"/>
                      <a:pt x="163045" y="454060"/>
                      <a:pt x="152618" y="453112"/>
                    </a:cubicBezTo>
                    <a:lnTo>
                      <a:pt x="152618" y="776357"/>
                    </a:lnTo>
                    <a:lnTo>
                      <a:pt x="0" y="776357"/>
                    </a:lnTo>
                    <a:lnTo>
                      <a:pt x="0" y="0"/>
                    </a:lnTo>
                    <a:lnTo>
                      <a:pt x="289119" y="0"/>
                    </a:lnTo>
                    <a:cubicBezTo>
                      <a:pt x="426570" y="0"/>
                      <a:pt x="516623" y="91949"/>
                      <a:pt x="516623" y="227504"/>
                    </a:cubicBezTo>
                    <a:cubicBezTo>
                      <a:pt x="516623" y="344099"/>
                      <a:pt x="439841" y="439841"/>
                      <a:pt x="343152" y="441736"/>
                    </a:cubicBezTo>
                    <a:cubicBezTo>
                      <a:pt x="358319" y="454060"/>
                      <a:pt x="365902" y="460695"/>
                      <a:pt x="375382" y="473966"/>
                    </a:cubicBezTo>
                    <a:cubicBezTo>
                      <a:pt x="419935" y="529894"/>
                      <a:pt x="562125" y="775409"/>
                      <a:pt x="562125" y="775409"/>
                    </a:cubicBezTo>
                    <a:lnTo>
                      <a:pt x="379173" y="775409"/>
                    </a:lnTo>
                    <a:close/>
                    <a:moveTo>
                      <a:pt x="297651" y="136502"/>
                    </a:moveTo>
                    <a:cubicBezTo>
                      <a:pt x="279640" y="129867"/>
                      <a:pt x="247411" y="125127"/>
                      <a:pt x="209493" y="125127"/>
                    </a:cubicBezTo>
                    <a:lnTo>
                      <a:pt x="153565" y="125127"/>
                    </a:lnTo>
                    <a:lnTo>
                      <a:pt x="153565" y="335568"/>
                    </a:lnTo>
                    <a:lnTo>
                      <a:pt x="205701" y="335568"/>
                    </a:lnTo>
                    <a:cubicBezTo>
                      <a:pt x="273005" y="335568"/>
                      <a:pt x="301443" y="328933"/>
                      <a:pt x="323245" y="309974"/>
                    </a:cubicBezTo>
                    <a:cubicBezTo>
                      <a:pt x="342204" y="291963"/>
                      <a:pt x="353579" y="264473"/>
                      <a:pt x="353579" y="232243"/>
                    </a:cubicBezTo>
                    <a:cubicBezTo>
                      <a:pt x="353579" y="182951"/>
                      <a:pt x="334621" y="149773"/>
                      <a:pt x="297651" y="136502"/>
                    </a:cubicBezTo>
                    <a:close/>
                  </a:path>
                </a:pathLst>
              </a:custGeom>
              <a:grpFill/>
              <a:ln w="9473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59" name="Freihandform: Form 58">
                <a:extLst>
                  <a:ext uri="{FF2B5EF4-FFF2-40B4-BE49-F238E27FC236}">
                    <a16:creationId xmlns:a16="http://schemas.microsoft.com/office/drawing/2014/main" id="{0F360FF9-3CFC-4EF4-AFA6-0BE881ED1D46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7048825" y="-2218115"/>
                <a:ext cx="417090" cy="767825"/>
              </a:xfrm>
              <a:custGeom>
                <a:avLst/>
                <a:gdLst>
                  <a:gd name="connsiteX0" fmla="*/ 403820 w 417090"/>
                  <a:gd name="connsiteY0" fmla="*/ 126075 h 767825"/>
                  <a:gd name="connsiteX1" fmla="*/ 157357 w 417090"/>
                  <a:gd name="connsiteY1" fmla="*/ 126075 h 767825"/>
                  <a:gd name="connsiteX2" fmla="*/ 157357 w 417090"/>
                  <a:gd name="connsiteY2" fmla="*/ 303338 h 767825"/>
                  <a:gd name="connsiteX3" fmla="*/ 354527 w 417090"/>
                  <a:gd name="connsiteY3" fmla="*/ 303338 h 767825"/>
                  <a:gd name="connsiteX4" fmla="*/ 354527 w 417090"/>
                  <a:gd name="connsiteY4" fmla="*/ 430361 h 767825"/>
                  <a:gd name="connsiteX5" fmla="*/ 156409 w 417090"/>
                  <a:gd name="connsiteY5" fmla="*/ 430361 h 767825"/>
                  <a:gd name="connsiteX6" fmla="*/ 156409 w 417090"/>
                  <a:gd name="connsiteY6" fmla="*/ 776357 h 767825"/>
                  <a:gd name="connsiteX7" fmla="*/ 0 w 417090"/>
                  <a:gd name="connsiteY7" fmla="*/ 776357 h 767825"/>
                  <a:gd name="connsiteX8" fmla="*/ 0 w 417090"/>
                  <a:gd name="connsiteY8" fmla="*/ 0 h 767825"/>
                  <a:gd name="connsiteX9" fmla="*/ 420882 w 417090"/>
                  <a:gd name="connsiteY9" fmla="*/ 0 h 767825"/>
                  <a:gd name="connsiteX10" fmla="*/ 403820 w 417090"/>
                  <a:gd name="connsiteY10" fmla="*/ 126075 h 767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17090" h="767825">
                    <a:moveTo>
                      <a:pt x="403820" y="126075"/>
                    </a:moveTo>
                    <a:lnTo>
                      <a:pt x="157357" y="126075"/>
                    </a:lnTo>
                    <a:lnTo>
                      <a:pt x="157357" y="303338"/>
                    </a:lnTo>
                    <a:lnTo>
                      <a:pt x="354527" y="303338"/>
                    </a:lnTo>
                    <a:lnTo>
                      <a:pt x="354527" y="430361"/>
                    </a:lnTo>
                    <a:lnTo>
                      <a:pt x="156409" y="430361"/>
                    </a:lnTo>
                    <a:lnTo>
                      <a:pt x="156409" y="776357"/>
                    </a:lnTo>
                    <a:lnTo>
                      <a:pt x="0" y="776357"/>
                    </a:lnTo>
                    <a:lnTo>
                      <a:pt x="0" y="0"/>
                    </a:lnTo>
                    <a:lnTo>
                      <a:pt x="420882" y="0"/>
                    </a:lnTo>
                    <a:lnTo>
                      <a:pt x="403820" y="126075"/>
                    </a:lnTo>
                    <a:close/>
                  </a:path>
                </a:pathLst>
              </a:custGeom>
              <a:grpFill/>
              <a:ln w="9473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60" name="Freihandform: Form 59">
                <a:extLst>
                  <a:ext uri="{FF2B5EF4-FFF2-40B4-BE49-F238E27FC236}">
                    <a16:creationId xmlns:a16="http://schemas.microsoft.com/office/drawing/2014/main" id="{329DE919-8B2A-4DC9-BF31-372706681BB4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7796744" y="-2225698"/>
                <a:ext cx="161149" cy="777305"/>
              </a:xfrm>
              <a:custGeom>
                <a:avLst/>
                <a:gdLst>
                  <a:gd name="connsiteX0" fmla="*/ 0 w 161148"/>
                  <a:gd name="connsiteY0" fmla="*/ 783940 h 777304"/>
                  <a:gd name="connsiteX1" fmla="*/ 0 w 161148"/>
                  <a:gd name="connsiteY1" fmla="*/ 0 h 777304"/>
                  <a:gd name="connsiteX2" fmla="*/ 164941 w 161148"/>
                  <a:gd name="connsiteY2" fmla="*/ 0 h 777304"/>
                  <a:gd name="connsiteX3" fmla="*/ 164941 w 161148"/>
                  <a:gd name="connsiteY3" fmla="*/ 783940 h 777304"/>
                  <a:gd name="connsiteX4" fmla="*/ 0 w 161148"/>
                  <a:gd name="connsiteY4" fmla="*/ 783940 h 7773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1148" h="777304">
                    <a:moveTo>
                      <a:pt x="0" y="783940"/>
                    </a:moveTo>
                    <a:lnTo>
                      <a:pt x="0" y="0"/>
                    </a:lnTo>
                    <a:lnTo>
                      <a:pt x="164941" y="0"/>
                    </a:lnTo>
                    <a:lnTo>
                      <a:pt x="164941" y="783940"/>
                    </a:lnTo>
                    <a:lnTo>
                      <a:pt x="0" y="783940"/>
                    </a:lnTo>
                    <a:close/>
                  </a:path>
                </a:pathLst>
              </a:custGeom>
              <a:grpFill/>
              <a:ln w="9473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61" name="Freihandform: Form 60">
                <a:extLst>
                  <a:ext uri="{FF2B5EF4-FFF2-40B4-BE49-F238E27FC236}">
                    <a16:creationId xmlns:a16="http://schemas.microsoft.com/office/drawing/2014/main" id="{B41F55BE-5E5C-4D5B-B727-A48A3A9C2A30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8130417" y="-2225698"/>
                <a:ext cx="540322" cy="777305"/>
              </a:xfrm>
              <a:custGeom>
                <a:avLst/>
                <a:gdLst>
                  <a:gd name="connsiteX0" fmla="*/ 381069 w 540321"/>
                  <a:gd name="connsiteY0" fmla="*/ 783940 h 777304"/>
                  <a:gd name="connsiteX1" fmla="*/ 246462 w 540321"/>
                  <a:gd name="connsiteY1" fmla="*/ 483446 h 777304"/>
                  <a:gd name="connsiteX2" fmla="*/ 140294 w 540321"/>
                  <a:gd name="connsiteY2" fmla="*/ 226556 h 777304"/>
                  <a:gd name="connsiteX3" fmla="*/ 147877 w 540321"/>
                  <a:gd name="connsiteY3" fmla="*/ 448372 h 777304"/>
                  <a:gd name="connsiteX4" fmla="*/ 152617 w 540321"/>
                  <a:gd name="connsiteY4" fmla="*/ 782992 h 777304"/>
                  <a:gd name="connsiteX5" fmla="*/ 0 w 540321"/>
                  <a:gd name="connsiteY5" fmla="*/ 782992 h 777304"/>
                  <a:gd name="connsiteX6" fmla="*/ 0 w 540321"/>
                  <a:gd name="connsiteY6" fmla="*/ 0 h 777304"/>
                  <a:gd name="connsiteX7" fmla="*/ 174419 w 540321"/>
                  <a:gd name="connsiteY7" fmla="*/ 0 h 777304"/>
                  <a:gd name="connsiteX8" fmla="*/ 325141 w 540321"/>
                  <a:gd name="connsiteY8" fmla="*/ 313766 h 777304"/>
                  <a:gd name="connsiteX9" fmla="*/ 410455 w 540321"/>
                  <a:gd name="connsiteY9" fmla="*/ 535582 h 777304"/>
                  <a:gd name="connsiteX10" fmla="*/ 398132 w 540321"/>
                  <a:gd name="connsiteY10" fmla="*/ 320401 h 777304"/>
                  <a:gd name="connsiteX11" fmla="*/ 394340 w 540321"/>
                  <a:gd name="connsiteY11" fmla="*/ 0 h 777304"/>
                  <a:gd name="connsiteX12" fmla="*/ 544113 w 540321"/>
                  <a:gd name="connsiteY12" fmla="*/ 0 h 777304"/>
                  <a:gd name="connsiteX13" fmla="*/ 544113 w 540321"/>
                  <a:gd name="connsiteY13" fmla="*/ 783940 h 777304"/>
                  <a:gd name="connsiteX14" fmla="*/ 381069 w 540321"/>
                  <a:gd name="connsiteY14" fmla="*/ 783940 h 7773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40321" h="777304">
                    <a:moveTo>
                      <a:pt x="381069" y="783940"/>
                    </a:moveTo>
                    <a:lnTo>
                      <a:pt x="246462" y="483446"/>
                    </a:lnTo>
                    <a:cubicBezTo>
                      <a:pt x="202857" y="384861"/>
                      <a:pt x="155461" y="274900"/>
                      <a:pt x="140294" y="226556"/>
                    </a:cubicBezTo>
                    <a:cubicBezTo>
                      <a:pt x="145981" y="291015"/>
                      <a:pt x="146930" y="382965"/>
                      <a:pt x="147877" y="448372"/>
                    </a:cubicBezTo>
                    <a:lnTo>
                      <a:pt x="152617" y="782992"/>
                    </a:lnTo>
                    <a:lnTo>
                      <a:pt x="0" y="782992"/>
                    </a:lnTo>
                    <a:lnTo>
                      <a:pt x="0" y="0"/>
                    </a:lnTo>
                    <a:lnTo>
                      <a:pt x="174419" y="0"/>
                    </a:lnTo>
                    <a:lnTo>
                      <a:pt x="325141" y="313766"/>
                    </a:lnTo>
                    <a:cubicBezTo>
                      <a:pt x="364954" y="397184"/>
                      <a:pt x="395288" y="479654"/>
                      <a:pt x="410455" y="535582"/>
                    </a:cubicBezTo>
                    <a:cubicBezTo>
                      <a:pt x="404767" y="474914"/>
                      <a:pt x="399079" y="374433"/>
                      <a:pt x="398132" y="320401"/>
                    </a:cubicBezTo>
                    <a:lnTo>
                      <a:pt x="394340" y="0"/>
                    </a:lnTo>
                    <a:lnTo>
                      <a:pt x="544113" y="0"/>
                    </a:lnTo>
                    <a:lnTo>
                      <a:pt x="544113" y="783940"/>
                    </a:lnTo>
                    <a:lnTo>
                      <a:pt x="381069" y="783940"/>
                    </a:lnTo>
                    <a:close/>
                  </a:path>
                </a:pathLst>
              </a:custGeom>
              <a:grpFill/>
              <a:ln w="9473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62" name="Freihandform: Form 61">
                <a:extLst>
                  <a:ext uri="{FF2B5EF4-FFF2-40B4-BE49-F238E27FC236}">
                    <a16:creationId xmlns:a16="http://schemas.microsoft.com/office/drawing/2014/main" id="{B0A8724E-1F47-4DB0-8747-D9E1657DA976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8780698" y="-2228542"/>
                <a:ext cx="587718" cy="796263"/>
              </a:xfrm>
              <a:custGeom>
                <a:avLst/>
                <a:gdLst>
                  <a:gd name="connsiteX0" fmla="*/ 267317 w 587718"/>
                  <a:gd name="connsiteY0" fmla="*/ 799107 h 796263"/>
                  <a:gd name="connsiteX1" fmla="*/ 0 w 587718"/>
                  <a:gd name="connsiteY1" fmla="*/ 729908 h 796263"/>
                  <a:gd name="connsiteX2" fmla="*/ 58772 w 587718"/>
                  <a:gd name="connsiteY2" fmla="*/ 610468 h 796263"/>
                  <a:gd name="connsiteX3" fmla="*/ 273953 w 587718"/>
                  <a:gd name="connsiteY3" fmla="*/ 672084 h 796263"/>
                  <a:gd name="connsiteX4" fmla="*/ 411403 w 587718"/>
                  <a:gd name="connsiteY4" fmla="*/ 567812 h 796263"/>
                  <a:gd name="connsiteX5" fmla="*/ 309026 w 587718"/>
                  <a:gd name="connsiteY5" fmla="*/ 469227 h 796263"/>
                  <a:gd name="connsiteX6" fmla="*/ 221816 w 587718"/>
                  <a:gd name="connsiteY6" fmla="*/ 446476 h 796263"/>
                  <a:gd name="connsiteX7" fmla="*/ 67304 w 587718"/>
                  <a:gd name="connsiteY7" fmla="*/ 350735 h 796263"/>
                  <a:gd name="connsiteX8" fmla="*/ 35074 w 587718"/>
                  <a:gd name="connsiteY8" fmla="*/ 235087 h 796263"/>
                  <a:gd name="connsiteX9" fmla="*/ 315661 w 587718"/>
                  <a:gd name="connsiteY9" fmla="*/ 0 h 796263"/>
                  <a:gd name="connsiteX10" fmla="*/ 577291 w 587718"/>
                  <a:gd name="connsiteY10" fmla="*/ 76783 h 796263"/>
                  <a:gd name="connsiteX11" fmla="*/ 502404 w 587718"/>
                  <a:gd name="connsiteY11" fmla="*/ 185795 h 796263"/>
                  <a:gd name="connsiteX12" fmla="*/ 319453 w 587718"/>
                  <a:gd name="connsiteY12" fmla="*/ 127971 h 796263"/>
                  <a:gd name="connsiteX13" fmla="*/ 210441 w 587718"/>
                  <a:gd name="connsiteY13" fmla="*/ 215181 h 796263"/>
                  <a:gd name="connsiteX14" fmla="*/ 297651 w 587718"/>
                  <a:gd name="connsiteY14" fmla="*/ 291963 h 796263"/>
                  <a:gd name="connsiteX15" fmla="*/ 392444 w 587718"/>
                  <a:gd name="connsiteY15" fmla="*/ 317557 h 796263"/>
                  <a:gd name="connsiteX16" fmla="*/ 590562 w 587718"/>
                  <a:gd name="connsiteY16" fmla="*/ 544113 h 796263"/>
                  <a:gd name="connsiteX17" fmla="*/ 267317 w 587718"/>
                  <a:gd name="connsiteY17" fmla="*/ 799107 h 7962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587718" h="796263">
                    <a:moveTo>
                      <a:pt x="267317" y="799107"/>
                    </a:moveTo>
                    <a:cubicBezTo>
                      <a:pt x="178211" y="799107"/>
                      <a:pt x="78678" y="773513"/>
                      <a:pt x="0" y="729908"/>
                    </a:cubicBezTo>
                    <a:lnTo>
                      <a:pt x="58772" y="610468"/>
                    </a:lnTo>
                    <a:cubicBezTo>
                      <a:pt x="131763" y="647438"/>
                      <a:pt x="195274" y="672084"/>
                      <a:pt x="273953" y="672084"/>
                    </a:cubicBezTo>
                    <a:cubicBezTo>
                      <a:pt x="364006" y="672084"/>
                      <a:pt x="411403" y="636063"/>
                      <a:pt x="411403" y="567812"/>
                    </a:cubicBezTo>
                    <a:cubicBezTo>
                      <a:pt x="411403" y="518519"/>
                      <a:pt x="379173" y="488185"/>
                      <a:pt x="309026" y="469227"/>
                    </a:cubicBezTo>
                    <a:lnTo>
                      <a:pt x="221816" y="446476"/>
                    </a:lnTo>
                    <a:cubicBezTo>
                      <a:pt x="144086" y="425622"/>
                      <a:pt x="95742" y="396236"/>
                      <a:pt x="67304" y="350735"/>
                    </a:cubicBezTo>
                    <a:cubicBezTo>
                      <a:pt x="45501" y="316609"/>
                      <a:pt x="35074" y="277744"/>
                      <a:pt x="35074" y="235087"/>
                    </a:cubicBezTo>
                    <a:cubicBezTo>
                      <a:pt x="35074" y="95741"/>
                      <a:pt x="149773" y="0"/>
                      <a:pt x="315661" y="0"/>
                    </a:cubicBezTo>
                    <a:cubicBezTo>
                      <a:pt x="411403" y="0"/>
                      <a:pt x="509040" y="28438"/>
                      <a:pt x="577291" y="76783"/>
                    </a:cubicBezTo>
                    <a:lnTo>
                      <a:pt x="502404" y="185795"/>
                    </a:lnTo>
                    <a:cubicBezTo>
                      <a:pt x="431309" y="144086"/>
                      <a:pt x="378225" y="127971"/>
                      <a:pt x="319453" y="127971"/>
                    </a:cubicBezTo>
                    <a:cubicBezTo>
                      <a:pt x="254994" y="127971"/>
                      <a:pt x="210441" y="163992"/>
                      <a:pt x="210441" y="215181"/>
                    </a:cubicBezTo>
                    <a:cubicBezTo>
                      <a:pt x="210441" y="254994"/>
                      <a:pt x="232243" y="273952"/>
                      <a:pt x="297651" y="291963"/>
                    </a:cubicBezTo>
                    <a:lnTo>
                      <a:pt x="392444" y="317557"/>
                    </a:lnTo>
                    <a:cubicBezTo>
                      <a:pt x="521363" y="351683"/>
                      <a:pt x="590562" y="431309"/>
                      <a:pt x="590562" y="544113"/>
                    </a:cubicBezTo>
                    <a:cubicBezTo>
                      <a:pt x="591510" y="697678"/>
                      <a:pt x="462591" y="799107"/>
                      <a:pt x="267317" y="799107"/>
                    </a:cubicBezTo>
                    <a:close/>
                  </a:path>
                </a:pathLst>
              </a:custGeom>
              <a:grpFill/>
              <a:ln w="9473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63" name="Freihandform: Form 62">
                <a:extLst>
                  <a:ext uri="{FF2B5EF4-FFF2-40B4-BE49-F238E27FC236}">
                    <a16:creationId xmlns:a16="http://schemas.microsoft.com/office/drawing/2014/main" id="{11B54A80-1EDF-44B4-B9C4-19FCC2066A8D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9435720" y="-2225698"/>
                <a:ext cx="559280" cy="777305"/>
              </a:xfrm>
              <a:custGeom>
                <a:avLst/>
                <a:gdLst>
                  <a:gd name="connsiteX0" fmla="*/ 539374 w 559280"/>
                  <a:gd name="connsiteY0" fmla="*/ 130815 h 777304"/>
                  <a:gd name="connsiteX1" fmla="*/ 351683 w 559280"/>
                  <a:gd name="connsiteY1" fmla="*/ 130815 h 777304"/>
                  <a:gd name="connsiteX2" fmla="*/ 351683 w 559280"/>
                  <a:gd name="connsiteY2" fmla="*/ 783940 h 777304"/>
                  <a:gd name="connsiteX3" fmla="*/ 191482 w 559280"/>
                  <a:gd name="connsiteY3" fmla="*/ 783940 h 777304"/>
                  <a:gd name="connsiteX4" fmla="*/ 191482 w 559280"/>
                  <a:gd name="connsiteY4" fmla="*/ 130815 h 777304"/>
                  <a:gd name="connsiteX5" fmla="*/ 0 w 559280"/>
                  <a:gd name="connsiteY5" fmla="*/ 130815 h 777304"/>
                  <a:gd name="connsiteX6" fmla="*/ 0 w 559280"/>
                  <a:gd name="connsiteY6" fmla="*/ 0 h 777304"/>
                  <a:gd name="connsiteX7" fmla="*/ 564968 w 559280"/>
                  <a:gd name="connsiteY7" fmla="*/ 0 h 777304"/>
                  <a:gd name="connsiteX8" fmla="*/ 539374 w 559280"/>
                  <a:gd name="connsiteY8" fmla="*/ 130815 h 7773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59280" h="777304">
                    <a:moveTo>
                      <a:pt x="539374" y="130815"/>
                    </a:moveTo>
                    <a:lnTo>
                      <a:pt x="351683" y="130815"/>
                    </a:lnTo>
                    <a:lnTo>
                      <a:pt x="351683" y="783940"/>
                    </a:lnTo>
                    <a:lnTo>
                      <a:pt x="191482" y="783940"/>
                    </a:lnTo>
                    <a:lnTo>
                      <a:pt x="191482" y="130815"/>
                    </a:lnTo>
                    <a:lnTo>
                      <a:pt x="0" y="130815"/>
                    </a:lnTo>
                    <a:lnTo>
                      <a:pt x="0" y="0"/>
                    </a:lnTo>
                    <a:lnTo>
                      <a:pt x="564968" y="0"/>
                    </a:lnTo>
                    <a:lnTo>
                      <a:pt x="539374" y="130815"/>
                    </a:lnTo>
                    <a:close/>
                  </a:path>
                </a:pathLst>
              </a:custGeom>
              <a:grpFill/>
              <a:ln w="9473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64" name="Freihandform: Form 63">
                <a:extLst>
                  <a:ext uri="{FF2B5EF4-FFF2-40B4-BE49-F238E27FC236}">
                    <a16:creationId xmlns:a16="http://schemas.microsoft.com/office/drawing/2014/main" id="{A91F7353-A435-4988-A2DB-FC0F8375FA45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10068938" y="-2225698"/>
                <a:ext cx="161149" cy="777305"/>
              </a:xfrm>
              <a:custGeom>
                <a:avLst/>
                <a:gdLst>
                  <a:gd name="connsiteX0" fmla="*/ 0 w 161148"/>
                  <a:gd name="connsiteY0" fmla="*/ 783940 h 777304"/>
                  <a:gd name="connsiteX1" fmla="*/ 0 w 161148"/>
                  <a:gd name="connsiteY1" fmla="*/ 0 h 777304"/>
                  <a:gd name="connsiteX2" fmla="*/ 164941 w 161148"/>
                  <a:gd name="connsiteY2" fmla="*/ 0 h 777304"/>
                  <a:gd name="connsiteX3" fmla="*/ 164941 w 161148"/>
                  <a:gd name="connsiteY3" fmla="*/ 783940 h 777304"/>
                  <a:gd name="connsiteX4" fmla="*/ 0 w 161148"/>
                  <a:gd name="connsiteY4" fmla="*/ 783940 h 7773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1148" h="777304">
                    <a:moveTo>
                      <a:pt x="0" y="783940"/>
                    </a:moveTo>
                    <a:lnTo>
                      <a:pt x="0" y="0"/>
                    </a:lnTo>
                    <a:lnTo>
                      <a:pt x="164941" y="0"/>
                    </a:lnTo>
                    <a:lnTo>
                      <a:pt x="164941" y="783940"/>
                    </a:lnTo>
                    <a:lnTo>
                      <a:pt x="0" y="783940"/>
                    </a:lnTo>
                    <a:close/>
                  </a:path>
                </a:pathLst>
              </a:custGeom>
              <a:grpFill/>
              <a:ln w="9473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65" name="Freihandform: Form 64">
                <a:extLst>
                  <a:ext uri="{FF2B5EF4-FFF2-40B4-BE49-F238E27FC236}">
                    <a16:creationId xmlns:a16="http://schemas.microsoft.com/office/drawing/2014/main" id="{B1BDF2A0-79C2-4BAF-8423-ADF3A1E8F5F4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10335308" y="-2225698"/>
                <a:ext cx="559280" cy="777305"/>
              </a:xfrm>
              <a:custGeom>
                <a:avLst/>
                <a:gdLst>
                  <a:gd name="connsiteX0" fmla="*/ 539373 w 559280"/>
                  <a:gd name="connsiteY0" fmla="*/ 130815 h 777304"/>
                  <a:gd name="connsiteX1" fmla="*/ 351683 w 559280"/>
                  <a:gd name="connsiteY1" fmla="*/ 130815 h 777304"/>
                  <a:gd name="connsiteX2" fmla="*/ 351683 w 559280"/>
                  <a:gd name="connsiteY2" fmla="*/ 783940 h 777304"/>
                  <a:gd name="connsiteX3" fmla="*/ 191482 w 559280"/>
                  <a:gd name="connsiteY3" fmla="*/ 783940 h 777304"/>
                  <a:gd name="connsiteX4" fmla="*/ 191482 w 559280"/>
                  <a:gd name="connsiteY4" fmla="*/ 130815 h 777304"/>
                  <a:gd name="connsiteX5" fmla="*/ 0 w 559280"/>
                  <a:gd name="connsiteY5" fmla="*/ 130815 h 777304"/>
                  <a:gd name="connsiteX6" fmla="*/ 0 w 559280"/>
                  <a:gd name="connsiteY6" fmla="*/ 0 h 777304"/>
                  <a:gd name="connsiteX7" fmla="*/ 564968 w 559280"/>
                  <a:gd name="connsiteY7" fmla="*/ 0 h 777304"/>
                  <a:gd name="connsiteX8" fmla="*/ 539373 w 559280"/>
                  <a:gd name="connsiteY8" fmla="*/ 130815 h 7773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59280" h="777304">
                    <a:moveTo>
                      <a:pt x="539373" y="130815"/>
                    </a:moveTo>
                    <a:lnTo>
                      <a:pt x="351683" y="130815"/>
                    </a:lnTo>
                    <a:lnTo>
                      <a:pt x="351683" y="783940"/>
                    </a:lnTo>
                    <a:lnTo>
                      <a:pt x="191482" y="783940"/>
                    </a:lnTo>
                    <a:lnTo>
                      <a:pt x="191482" y="130815"/>
                    </a:lnTo>
                    <a:lnTo>
                      <a:pt x="0" y="130815"/>
                    </a:lnTo>
                    <a:lnTo>
                      <a:pt x="0" y="0"/>
                    </a:lnTo>
                    <a:lnTo>
                      <a:pt x="564968" y="0"/>
                    </a:lnTo>
                    <a:lnTo>
                      <a:pt x="539373" y="130815"/>
                    </a:lnTo>
                    <a:close/>
                  </a:path>
                </a:pathLst>
              </a:custGeom>
              <a:grpFill/>
              <a:ln w="9473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66" name="Freihandform: Form 65">
                <a:extLst>
                  <a:ext uri="{FF2B5EF4-FFF2-40B4-BE49-F238E27FC236}">
                    <a16:creationId xmlns:a16="http://schemas.microsoft.com/office/drawing/2014/main" id="{92B8A1E1-4CC1-4430-8F3E-0D4EFC0EE3C0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10965684" y="-2225698"/>
                <a:ext cx="559280" cy="796263"/>
              </a:xfrm>
              <a:custGeom>
                <a:avLst/>
                <a:gdLst>
                  <a:gd name="connsiteX0" fmla="*/ 551696 w 559280"/>
                  <a:gd name="connsiteY0" fmla="*/ 651230 h 796263"/>
                  <a:gd name="connsiteX1" fmla="*/ 285327 w 559280"/>
                  <a:gd name="connsiteY1" fmla="*/ 799107 h 796263"/>
                  <a:gd name="connsiteX2" fmla="*/ 34125 w 559280"/>
                  <a:gd name="connsiteY2" fmla="*/ 693887 h 796263"/>
                  <a:gd name="connsiteX3" fmla="*/ 0 w 559280"/>
                  <a:gd name="connsiteY3" fmla="*/ 546009 h 796263"/>
                  <a:gd name="connsiteX4" fmla="*/ 0 w 559280"/>
                  <a:gd name="connsiteY4" fmla="*/ 0 h 796263"/>
                  <a:gd name="connsiteX5" fmla="*/ 161149 w 559280"/>
                  <a:gd name="connsiteY5" fmla="*/ 0 h 796263"/>
                  <a:gd name="connsiteX6" fmla="*/ 161149 w 559280"/>
                  <a:gd name="connsiteY6" fmla="*/ 515675 h 796263"/>
                  <a:gd name="connsiteX7" fmla="*/ 174419 w 559280"/>
                  <a:gd name="connsiteY7" fmla="*/ 609521 h 796263"/>
                  <a:gd name="connsiteX8" fmla="*/ 281536 w 559280"/>
                  <a:gd name="connsiteY8" fmla="*/ 663553 h 796263"/>
                  <a:gd name="connsiteX9" fmla="*/ 400975 w 559280"/>
                  <a:gd name="connsiteY9" fmla="*/ 572551 h 796263"/>
                  <a:gd name="connsiteX10" fmla="*/ 402871 w 559280"/>
                  <a:gd name="connsiteY10" fmla="*/ 502404 h 796263"/>
                  <a:gd name="connsiteX11" fmla="*/ 402871 w 559280"/>
                  <a:gd name="connsiteY11" fmla="*/ 0 h 796263"/>
                  <a:gd name="connsiteX12" fmla="*/ 563071 w 559280"/>
                  <a:gd name="connsiteY12" fmla="*/ 0 h 796263"/>
                  <a:gd name="connsiteX13" fmla="*/ 563071 w 559280"/>
                  <a:gd name="connsiteY13" fmla="*/ 527998 h 796263"/>
                  <a:gd name="connsiteX14" fmla="*/ 551696 w 559280"/>
                  <a:gd name="connsiteY14" fmla="*/ 651230 h 7962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59280" h="796263">
                    <a:moveTo>
                      <a:pt x="551696" y="651230"/>
                    </a:moveTo>
                    <a:cubicBezTo>
                      <a:pt x="531790" y="712845"/>
                      <a:pt x="455008" y="799107"/>
                      <a:pt x="285327" y="799107"/>
                    </a:cubicBezTo>
                    <a:cubicBezTo>
                      <a:pt x="165888" y="799107"/>
                      <a:pt x="77730" y="763086"/>
                      <a:pt x="34125" y="693887"/>
                    </a:cubicBezTo>
                    <a:cubicBezTo>
                      <a:pt x="8530" y="653125"/>
                      <a:pt x="0" y="621844"/>
                      <a:pt x="0" y="546009"/>
                    </a:cubicBezTo>
                    <a:lnTo>
                      <a:pt x="0" y="0"/>
                    </a:lnTo>
                    <a:lnTo>
                      <a:pt x="161149" y="0"/>
                    </a:lnTo>
                    <a:lnTo>
                      <a:pt x="161149" y="515675"/>
                    </a:lnTo>
                    <a:cubicBezTo>
                      <a:pt x="161149" y="564020"/>
                      <a:pt x="165888" y="592458"/>
                      <a:pt x="174419" y="609521"/>
                    </a:cubicBezTo>
                    <a:cubicBezTo>
                      <a:pt x="192430" y="644594"/>
                      <a:pt x="229399" y="663553"/>
                      <a:pt x="281536" y="663553"/>
                    </a:cubicBezTo>
                    <a:cubicBezTo>
                      <a:pt x="350735" y="663553"/>
                      <a:pt x="394340" y="629427"/>
                      <a:pt x="400975" y="572551"/>
                    </a:cubicBezTo>
                    <a:cubicBezTo>
                      <a:pt x="402871" y="555488"/>
                      <a:pt x="402871" y="544113"/>
                      <a:pt x="402871" y="502404"/>
                    </a:cubicBezTo>
                    <a:lnTo>
                      <a:pt x="402871" y="0"/>
                    </a:lnTo>
                    <a:lnTo>
                      <a:pt x="563071" y="0"/>
                    </a:lnTo>
                    <a:lnTo>
                      <a:pt x="563071" y="527998"/>
                    </a:lnTo>
                    <a:cubicBezTo>
                      <a:pt x="564020" y="602885"/>
                      <a:pt x="563071" y="617104"/>
                      <a:pt x="551696" y="651230"/>
                    </a:cubicBezTo>
                    <a:close/>
                  </a:path>
                </a:pathLst>
              </a:custGeom>
              <a:grpFill/>
              <a:ln w="9473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67" name="Freihandform: Form 66">
                <a:extLst>
                  <a:ext uri="{FF2B5EF4-FFF2-40B4-BE49-F238E27FC236}">
                    <a16:creationId xmlns:a16="http://schemas.microsoft.com/office/drawing/2014/main" id="{43082385-2B7F-45DB-B512-57F821A77436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11629236" y="-2225698"/>
                <a:ext cx="559280" cy="777305"/>
              </a:xfrm>
              <a:custGeom>
                <a:avLst/>
                <a:gdLst>
                  <a:gd name="connsiteX0" fmla="*/ 539373 w 559280"/>
                  <a:gd name="connsiteY0" fmla="*/ 130815 h 777304"/>
                  <a:gd name="connsiteX1" fmla="*/ 351683 w 559280"/>
                  <a:gd name="connsiteY1" fmla="*/ 130815 h 777304"/>
                  <a:gd name="connsiteX2" fmla="*/ 351683 w 559280"/>
                  <a:gd name="connsiteY2" fmla="*/ 783940 h 777304"/>
                  <a:gd name="connsiteX3" fmla="*/ 191482 w 559280"/>
                  <a:gd name="connsiteY3" fmla="*/ 783940 h 777304"/>
                  <a:gd name="connsiteX4" fmla="*/ 191482 w 559280"/>
                  <a:gd name="connsiteY4" fmla="*/ 130815 h 777304"/>
                  <a:gd name="connsiteX5" fmla="*/ 0 w 559280"/>
                  <a:gd name="connsiteY5" fmla="*/ 130815 h 777304"/>
                  <a:gd name="connsiteX6" fmla="*/ 0 w 559280"/>
                  <a:gd name="connsiteY6" fmla="*/ 0 h 777304"/>
                  <a:gd name="connsiteX7" fmla="*/ 564968 w 559280"/>
                  <a:gd name="connsiteY7" fmla="*/ 0 h 777304"/>
                  <a:gd name="connsiteX8" fmla="*/ 539373 w 559280"/>
                  <a:gd name="connsiteY8" fmla="*/ 130815 h 7773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59280" h="777304">
                    <a:moveTo>
                      <a:pt x="539373" y="130815"/>
                    </a:moveTo>
                    <a:lnTo>
                      <a:pt x="351683" y="130815"/>
                    </a:lnTo>
                    <a:lnTo>
                      <a:pt x="351683" y="783940"/>
                    </a:lnTo>
                    <a:lnTo>
                      <a:pt x="191482" y="783940"/>
                    </a:lnTo>
                    <a:lnTo>
                      <a:pt x="191482" y="130815"/>
                    </a:lnTo>
                    <a:lnTo>
                      <a:pt x="0" y="130815"/>
                    </a:lnTo>
                    <a:lnTo>
                      <a:pt x="0" y="0"/>
                    </a:lnTo>
                    <a:lnTo>
                      <a:pt x="564968" y="0"/>
                    </a:lnTo>
                    <a:lnTo>
                      <a:pt x="539373" y="130815"/>
                    </a:lnTo>
                    <a:close/>
                  </a:path>
                </a:pathLst>
              </a:custGeom>
              <a:grpFill/>
              <a:ln w="9473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</p:grpSp>
        <p:grpSp>
          <p:nvGrpSpPr>
            <p:cNvPr id="26" name="Gruppieren 25">
              <a:extLst>
                <a:ext uri="{FF2B5EF4-FFF2-40B4-BE49-F238E27FC236}">
                  <a16:creationId xmlns:a16="http://schemas.microsoft.com/office/drawing/2014/main" id="{838F785E-9382-4CEF-AA9B-CF0D9F528EB4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-1" y="-1266391"/>
              <a:ext cx="12159130" cy="942246"/>
              <a:chOff x="-1" y="-1266391"/>
              <a:chExt cx="12159130" cy="942246"/>
            </a:xfrm>
            <a:solidFill>
              <a:srgbClr val="D0D1D3"/>
            </a:solidFill>
          </p:grpSpPr>
          <p:sp>
            <p:nvSpPr>
              <p:cNvPr id="27" name="Freihandform: Form 26">
                <a:extLst>
                  <a:ext uri="{FF2B5EF4-FFF2-40B4-BE49-F238E27FC236}">
                    <a16:creationId xmlns:a16="http://schemas.microsoft.com/office/drawing/2014/main" id="{FBDD50F7-4CCE-44CC-9869-3C00345F58DB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-1" y="-1101450"/>
                <a:ext cx="502404" cy="777305"/>
              </a:xfrm>
              <a:custGeom>
                <a:avLst/>
                <a:gdLst>
                  <a:gd name="connsiteX0" fmla="*/ 450268 w 502404"/>
                  <a:gd name="connsiteY0" fmla="*/ 720429 h 777304"/>
                  <a:gd name="connsiteX1" fmla="*/ 249306 w 502404"/>
                  <a:gd name="connsiteY1" fmla="*/ 780148 h 777304"/>
                  <a:gd name="connsiteX2" fmla="*/ 22750 w 502404"/>
                  <a:gd name="connsiteY2" fmla="*/ 669240 h 777304"/>
                  <a:gd name="connsiteX3" fmla="*/ 0 w 502404"/>
                  <a:gd name="connsiteY3" fmla="*/ 549801 h 777304"/>
                  <a:gd name="connsiteX4" fmla="*/ 0 w 502404"/>
                  <a:gd name="connsiteY4" fmla="*/ 0 h 777304"/>
                  <a:gd name="connsiteX5" fmla="*/ 91002 w 502404"/>
                  <a:gd name="connsiteY5" fmla="*/ 0 h 777304"/>
                  <a:gd name="connsiteX6" fmla="*/ 91002 w 502404"/>
                  <a:gd name="connsiteY6" fmla="*/ 516623 h 777304"/>
                  <a:gd name="connsiteX7" fmla="*/ 104273 w 502404"/>
                  <a:gd name="connsiteY7" fmla="*/ 627531 h 777304"/>
                  <a:gd name="connsiteX8" fmla="*/ 254046 w 502404"/>
                  <a:gd name="connsiteY8" fmla="*/ 702418 h 777304"/>
                  <a:gd name="connsiteX9" fmla="*/ 389600 w 502404"/>
                  <a:gd name="connsiteY9" fmla="*/ 654073 h 777304"/>
                  <a:gd name="connsiteX10" fmla="*/ 418986 w 502404"/>
                  <a:gd name="connsiteY10" fmla="*/ 534634 h 777304"/>
                  <a:gd name="connsiteX11" fmla="*/ 418986 w 502404"/>
                  <a:gd name="connsiteY11" fmla="*/ 0 h 777304"/>
                  <a:gd name="connsiteX12" fmla="*/ 509988 w 502404"/>
                  <a:gd name="connsiteY12" fmla="*/ 0 h 777304"/>
                  <a:gd name="connsiteX13" fmla="*/ 509988 w 502404"/>
                  <a:gd name="connsiteY13" fmla="*/ 546009 h 777304"/>
                  <a:gd name="connsiteX14" fmla="*/ 450268 w 502404"/>
                  <a:gd name="connsiteY14" fmla="*/ 720429 h 7773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02404" h="777304">
                    <a:moveTo>
                      <a:pt x="450268" y="720429"/>
                    </a:moveTo>
                    <a:cubicBezTo>
                      <a:pt x="402871" y="760242"/>
                      <a:pt x="342204" y="780148"/>
                      <a:pt x="249306" y="780148"/>
                    </a:cubicBezTo>
                    <a:cubicBezTo>
                      <a:pt x="130815" y="780148"/>
                      <a:pt x="63511" y="745075"/>
                      <a:pt x="22750" y="669240"/>
                    </a:cubicBezTo>
                    <a:cubicBezTo>
                      <a:pt x="2844" y="632271"/>
                      <a:pt x="0" y="582978"/>
                      <a:pt x="0" y="549801"/>
                    </a:cubicBezTo>
                    <a:lnTo>
                      <a:pt x="0" y="0"/>
                    </a:lnTo>
                    <a:lnTo>
                      <a:pt x="91002" y="0"/>
                    </a:lnTo>
                    <a:lnTo>
                      <a:pt x="91002" y="516623"/>
                    </a:lnTo>
                    <a:cubicBezTo>
                      <a:pt x="91002" y="554540"/>
                      <a:pt x="94793" y="603833"/>
                      <a:pt x="104273" y="627531"/>
                    </a:cubicBezTo>
                    <a:cubicBezTo>
                      <a:pt x="118492" y="660709"/>
                      <a:pt x="160201" y="702418"/>
                      <a:pt x="254046" y="702418"/>
                    </a:cubicBezTo>
                    <a:cubicBezTo>
                      <a:pt x="317557" y="702418"/>
                      <a:pt x="365902" y="685355"/>
                      <a:pt x="389600" y="654073"/>
                    </a:cubicBezTo>
                    <a:cubicBezTo>
                      <a:pt x="415194" y="619000"/>
                      <a:pt x="418986" y="585822"/>
                      <a:pt x="418986" y="534634"/>
                    </a:cubicBezTo>
                    <a:lnTo>
                      <a:pt x="418986" y="0"/>
                    </a:lnTo>
                    <a:lnTo>
                      <a:pt x="509988" y="0"/>
                    </a:lnTo>
                    <a:lnTo>
                      <a:pt x="509988" y="546009"/>
                    </a:lnTo>
                    <a:cubicBezTo>
                      <a:pt x="509040" y="637011"/>
                      <a:pt x="496717" y="680615"/>
                      <a:pt x="450268" y="720429"/>
                    </a:cubicBezTo>
                    <a:close/>
                  </a:path>
                </a:pathLst>
              </a:custGeom>
              <a:grpFill/>
              <a:ln w="9473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28" name="Freihandform: Form 27">
                <a:extLst>
                  <a:ext uri="{FF2B5EF4-FFF2-40B4-BE49-F238E27FC236}">
                    <a16:creationId xmlns:a16="http://schemas.microsoft.com/office/drawing/2014/main" id="{4CF14FAE-BFC2-4FB8-89AD-730A5DF1F787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716636" y="-1102398"/>
                <a:ext cx="502404" cy="758346"/>
              </a:xfrm>
              <a:custGeom>
                <a:avLst/>
                <a:gdLst>
                  <a:gd name="connsiteX0" fmla="*/ 412351 w 502404"/>
                  <a:gd name="connsiteY0" fmla="*/ 766877 h 758345"/>
                  <a:gd name="connsiteX1" fmla="*/ 166836 w 502404"/>
                  <a:gd name="connsiteY1" fmla="*/ 297651 h 758345"/>
                  <a:gd name="connsiteX2" fmla="*/ 79626 w 502404"/>
                  <a:gd name="connsiteY2" fmla="*/ 112804 h 758345"/>
                  <a:gd name="connsiteX3" fmla="*/ 90054 w 502404"/>
                  <a:gd name="connsiteY3" fmla="*/ 322297 h 758345"/>
                  <a:gd name="connsiteX4" fmla="*/ 94793 w 502404"/>
                  <a:gd name="connsiteY4" fmla="*/ 766877 h 758345"/>
                  <a:gd name="connsiteX5" fmla="*/ 0 w 502404"/>
                  <a:gd name="connsiteY5" fmla="*/ 766877 h 758345"/>
                  <a:gd name="connsiteX6" fmla="*/ 0 w 502404"/>
                  <a:gd name="connsiteY6" fmla="*/ 0 h 758345"/>
                  <a:gd name="connsiteX7" fmla="*/ 106168 w 502404"/>
                  <a:gd name="connsiteY7" fmla="*/ 0 h 758345"/>
                  <a:gd name="connsiteX8" fmla="*/ 361162 w 502404"/>
                  <a:gd name="connsiteY8" fmla="*/ 490081 h 758345"/>
                  <a:gd name="connsiteX9" fmla="*/ 432257 w 502404"/>
                  <a:gd name="connsiteY9" fmla="*/ 651230 h 758345"/>
                  <a:gd name="connsiteX10" fmla="*/ 421830 w 502404"/>
                  <a:gd name="connsiteY10" fmla="*/ 417090 h 758345"/>
                  <a:gd name="connsiteX11" fmla="*/ 418038 w 502404"/>
                  <a:gd name="connsiteY11" fmla="*/ 0 h 758345"/>
                  <a:gd name="connsiteX12" fmla="*/ 509040 w 502404"/>
                  <a:gd name="connsiteY12" fmla="*/ 0 h 758345"/>
                  <a:gd name="connsiteX13" fmla="*/ 509040 w 502404"/>
                  <a:gd name="connsiteY13" fmla="*/ 766877 h 758345"/>
                  <a:gd name="connsiteX14" fmla="*/ 412351 w 502404"/>
                  <a:gd name="connsiteY14" fmla="*/ 766877 h 7583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02404" h="758345">
                    <a:moveTo>
                      <a:pt x="412351" y="766877"/>
                    </a:moveTo>
                    <a:lnTo>
                      <a:pt x="166836" y="297651"/>
                    </a:lnTo>
                    <a:cubicBezTo>
                      <a:pt x="117544" y="204753"/>
                      <a:pt x="79626" y="112804"/>
                      <a:pt x="79626" y="112804"/>
                    </a:cubicBezTo>
                    <a:cubicBezTo>
                      <a:pt x="79626" y="112804"/>
                      <a:pt x="88158" y="222764"/>
                      <a:pt x="90054" y="322297"/>
                    </a:cubicBezTo>
                    <a:lnTo>
                      <a:pt x="94793" y="766877"/>
                    </a:lnTo>
                    <a:lnTo>
                      <a:pt x="0" y="766877"/>
                    </a:lnTo>
                    <a:lnTo>
                      <a:pt x="0" y="0"/>
                    </a:lnTo>
                    <a:lnTo>
                      <a:pt x="106168" y="0"/>
                    </a:lnTo>
                    <a:lnTo>
                      <a:pt x="361162" y="490081"/>
                    </a:lnTo>
                    <a:cubicBezTo>
                      <a:pt x="399080" y="563072"/>
                      <a:pt x="429414" y="643646"/>
                      <a:pt x="432257" y="651230"/>
                    </a:cubicBezTo>
                    <a:cubicBezTo>
                      <a:pt x="432257" y="649334"/>
                      <a:pt x="423726" y="527050"/>
                      <a:pt x="421830" y="417090"/>
                    </a:cubicBezTo>
                    <a:lnTo>
                      <a:pt x="418038" y="0"/>
                    </a:lnTo>
                    <a:lnTo>
                      <a:pt x="509040" y="0"/>
                    </a:lnTo>
                    <a:lnTo>
                      <a:pt x="509040" y="766877"/>
                    </a:lnTo>
                    <a:lnTo>
                      <a:pt x="412351" y="766877"/>
                    </a:lnTo>
                    <a:close/>
                  </a:path>
                </a:pathLst>
              </a:custGeom>
              <a:grpFill/>
              <a:ln w="9473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29" name="Freihandform: Form 28">
                <a:extLst>
                  <a:ext uri="{FF2B5EF4-FFF2-40B4-BE49-F238E27FC236}">
                    <a16:creationId xmlns:a16="http://schemas.microsoft.com/office/drawing/2014/main" id="{8E588674-8085-44C7-8221-5AD571886E46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1438013" y="-1102398"/>
                <a:ext cx="85314" cy="758346"/>
              </a:xfrm>
              <a:custGeom>
                <a:avLst/>
                <a:gdLst>
                  <a:gd name="connsiteX0" fmla="*/ 0 w 85313"/>
                  <a:gd name="connsiteY0" fmla="*/ 766877 h 758345"/>
                  <a:gd name="connsiteX1" fmla="*/ 0 w 85313"/>
                  <a:gd name="connsiteY1" fmla="*/ 0 h 758345"/>
                  <a:gd name="connsiteX2" fmla="*/ 89106 w 85313"/>
                  <a:gd name="connsiteY2" fmla="*/ 0 h 758345"/>
                  <a:gd name="connsiteX3" fmla="*/ 89106 w 85313"/>
                  <a:gd name="connsiteY3" fmla="*/ 766877 h 758345"/>
                  <a:gd name="connsiteX4" fmla="*/ 0 w 85313"/>
                  <a:gd name="connsiteY4" fmla="*/ 766877 h 7583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313" h="758345">
                    <a:moveTo>
                      <a:pt x="0" y="766877"/>
                    </a:moveTo>
                    <a:lnTo>
                      <a:pt x="0" y="0"/>
                    </a:lnTo>
                    <a:lnTo>
                      <a:pt x="89106" y="0"/>
                    </a:lnTo>
                    <a:lnTo>
                      <a:pt x="89106" y="766877"/>
                    </a:lnTo>
                    <a:lnTo>
                      <a:pt x="0" y="766877"/>
                    </a:lnTo>
                    <a:close/>
                  </a:path>
                </a:pathLst>
              </a:custGeom>
              <a:grpFill/>
              <a:ln w="9473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30" name="Freihandform: Form 29">
                <a:extLst>
                  <a:ext uri="{FF2B5EF4-FFF2-40B4-BE49-F238E27FC236}">
                    <a16:creationId xmlns:a16="http://schemas.microsoft.com/office/drawing/2014/main" id="{F1E7960A-41C0-4D82-AB73-180F49AA3087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1650350" y="-1103346"/>
                <a:ext cx="606677" cy="767825"/>
              </a:xfrm>
              <a:custGeom>
                <a:avLst/>
                <a:gdLst>
                  <a:gd name="connsiteX0" fmla="*/ 348839 w 606676"/>
                  <a:gd name="connsiteY0" fmla="*/ 767825 h 767825"/>
                  <a:gd name="connsiteX1" fmla="*/ 257838 w 606676"/>
                  <a:gd name="connsiteY1" fmla="*/ 767825 h 767825"/>
                  <a:gd name="connsiteX2" fmla="*/ 0 w 606676"/>
                  <a:gd name="connsiteY2" fmla="*/ 948 h 767825"/>
                  <a:gd name="connsiteX3" fmla="*/ 99533 w 606676"/>
                  <a:gd name="connsiteY3" fmla="*/ 948 h 767825"/>
                  <a:gd name="connsiteX4" fmla="*/ 261629 w 606676"/>
                  <a:gd name="connsiteY4" fmla="*/ 494821 h 767825"/>
                  <a:gd name="connsiteX5" fmla="*/ 306182 w 606676"/>
                  <a:gd name="connsiteY5" fmla="*/ 665449 h 767825"/>
                  <a:gd name="connsiteX6" fmla="*/ 353579 w 606676"/>
                  <a:gd name="connsiteY6" fmla="*/ 505248 h 767825"/>
                  <a:gd name="connsiteX7" fmla="*/ 517571 w 606676"/>
                  <a:gd name="connsiteY7" fmla="*/ 0 h 767825"/>
                  <a:gd name="connsiteX8" fmla="*/ 611417 w 606676"/>
                  <a:gd name="connsiteY8" fmla="*/ 0 h 767825"/>
                  <a:gd name="connsiteX9" fmla="*/ 348839 w 606676"/>
                  <a:gd name="connsiteY9" fmla="*/ 767825 h 767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06676" h="767825">
                    <a:moveTo>
                      <a:pt x="348839" y="767825"/>
                    </a:moveTo>
                    <a:lnTo>
                      <a:pt x="257838" y="767825"/>
                    </a:lnTo>
                    <a:lnTo>
                      <a:pt x="0" y="948"/>
                    </a:lnTo>
                    <a:lnTo>
                      <a:pt x="99533" y="948"/>
                    </a:lnTo>
                    <a:lnTo>
                      <a:pt x="261629" y="494821"/>
                    </a:lnTo>
                    <a:cubicBezTo>
                      <a:pt x="284380" y="562124"/>
                      <a:pt x="303338" y="643646"/>
                      <a:pt x="306182" y="665449"/>
                    </a:cubicBezTo>
                    <a:cubicBezTo>
                      <a:pt x="310922" y="646490"/>
                      <a:pt x="326089" y="588666"/>
                      <a:pt x="353579" y="505248"/>
                    </a:cubicBezTo>
                    <a:lnTo>
                      <a:pt x="517571" y="0"/>
                    </a:lnTo>
                    <a:lnTo>
                      <a:pt x="611417" y="0"/>
                    </a:lnTo>
                    <a:lnTo>
                      <a:pt x="348839" y="767825"/>
                    </a:lnTo>
                    <a:close/>
                  </a:path>
                </a:pathLst>
              </a:custGeom>
              <a:grpFill/>
              <a:ln w="9473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31" name="Freihandform: Form 30">
                <a:extLst>
                  <a:ext uri="{FF2B5EF4-FFF2-40B4-BE49-F238E27FC236}">
                    <a16:creationId xmlns:a16="http://schemas.microsoft.com/office/drawing/2014/main" id="{3CB3740A-F31E-493C-90C4-1C5608B8C20A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2384997" y="-1102398"/>
                <a:ext cx="426570" cy="758346"/>
              </a:xfrm>
              <a:custGeom>
                <a:avLst/>
                <a:gdLst>
                  <a:gd name="connsiteX0" fmla="*/ 0 w 426569"/>
                  <a:gd name="connsiteY0" fmla="*/ 766877 h 758345"/>
                  <a:gd name="connsiteX1" fmla="*/ 0 w 426569"/>
                  <a:gd name="connsiteY1" fmla="*/ 0 h 758345"/>
                  <a:gd name="connsiteX2" fmla="*/ 418986 w 426569"/>
                  <a:gd name="connsiteY2" fmla="*/ 0 h 758345"/>
                  <a:gd name="connsiteX3" fmla="*/ 406663 w 426569"/>
                  <a:gd name="connsiteY3" fmla="*/ 75835 h 758345"/>
                  <a:gd name="connsiteX4" fmla="*/ 92897 w 426569"/>
                  <a:gd name="connsiteY4" fmla="*/ 75835 h 758345"/>
                  <a:gd name="connsiteX5" fmla="*/ 92897 w 426569"/>
                  <a:gd name="connsiteY5" fmla="*/ 327037 h 758345"/>
                  <a:gd name="connsiteX6" fmla="*/ 355475 w 426569"/>
                  <a:gd name="connsiteY6" fmla="*/ 327037 h 758345"/>
                  <a:gd name="connsiteX7" fmla="*/ 355475 w 426569"/>
                  <a:gd name="connsiteY7" fmla="*/ 406663 h 758345"/>
                  <a:gd name="connsiteX8" fmla="*/ 92897 w 426569"/>
                  <a:gd name="connsiteY8" fmla="*/ 406663 h 758345"/>
                  <a:gd name="connsiteX9" fmla="*/ 92897 w 426569"/>
                  <a:gd name="connsiteY9" fmla="*/ 687251 h 758345"/>
                  <a:gd name="connsiteX10" fmla="*/ 430361 w 426569"/>
                  <a:gd name="connsiteY10" fmla="*/ 687251 h 758345"/>
                  <a:gd name="connsiteX11" fmla="*/ 430361 w 426569"/>
                  <a:gd name="connsiteY11" fmla="*/ 766877 h 758345"/>
                  <a:gd name="connsiteX12" fmla="*/ 0 w 426569"/>
                  <a:gd name="connsiteY12" fmla="*/ 766877 h 7583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26569" h="758345">
                    <a:moveTo>
                      <a:pt x="0" y="766877"/>
                    </a:moveTo>
                    <a:lnTo>
                      <a:pt x="0" y="0"/>
                    </a:lnTo>
                    <a:lnTo>
                      <a:pt x="418986" y="0"/>
                    </a:lnTo>
                    <a:lnTo>
                      <a:pt x="406663" y="75835"/>
                    </a:lnTo>
                    <a:lnTo>
                      <a:pt x="92897" y="75835"/>
                    </a:lnTo>
                    <a:lnTo>
                      <a:pt x="92897" y="327037"/>
                    </a:lnTo>
                    <a:lnTo>
                      <a:pt x="355475" y="327037"/>
                    </a:lnTo>
                    <a:lnTo>
                      <a:pt x="355475" y="406663"/>
                    </a:lnTo>
                    <a:lnTo>
                      <a:pt x="92897" y="406663"/>
                    </a:lnTo>
                    <a:lnTo>
                      <a:pt x="92897" y="687251"/>
                    </a:lnTo>
                    <a:lnTo>
                      <a:pt x="430361" y="687251"/>
                    </a:lnTo>
                    <a:lnTo>
                      <a:pt x="430361" y="766877"/>
                    </a:lnTo>
                    <a:lnTo>
                      <a:pt x="0" y="766877"/>
                    </a:lnTo>
                    <a:close/>
                  </a:path>
                </a:pathLst>
              </a:custGeom>
              <a:grpFill/>
              <a:ln w="9473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32" name="Freihandform: Form 31">
                <a:extLst>
                  <a:ext uri="{FF2B5EF4-FFF2-40B4-BE49-F238E27FC236}">
                    <a16:creationId xmlns:a16="http://schemas.microsoft.com/office/drawing/2014/main" id="{FCC095E5-411D-4650-BEE3-202312458CF7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2966080" y="-1102398"/>
                <a:ext cx="483446" cy="767825"/>
              </a:xfrm>
              <a:custGeom>
                <a:avLst/>
                <a:gdLst>
                  <a:gd name="connsiteX0" fmla="*/ 372538 w 483445"/>
                  <a:gd name="connsiteY0" fmla="*/ 766877 h 767825"/>
                  <a:gd name="connsiteX1" fmla="*/ 177264 w 483445"/>
                  <a:gd name="connsiteY1" fmla="*/ 469227 h 767825"/>
                  <a:gd name="connsiteX2" fmla="*/ 91950 w 483445"/>
                  <a:gd name="connsiteY2" fmla="*/ 419934 h 767825"/>
                  <a:gd name="connsiteX3" fmla="*/ 91950 w 483445"/>
                  <a:gd name="connsiteY3" fmla="*/ 766877 h 767825"/>
                  <a:gd name="connsiteX4" fmla="*/ 0 w 483445"/>
                  <a:gd name="connsiteY4" fmla="*/ 766877 h 767825"/>
                  <a:gd name="connsiteX5" fmla="*/ 0 w 483445"/>
                  <a:gd name="connsiteY5" fmla="*/ 0 h 767825"/>
                  <a:gd name="connsiteX6" fmla="*/ 179159 w 483445"/>
                  <a:gd name="connsiteY6" fmla="*/ 0 h 767825"/>
                  <a:gd name="connsiteX7" fmla="*/ 372538 w 483445"/>
                  <a:gd name="connsiteY7" fmla="*/ 49292 h 767825"/>
                  <a:gd name="connsiteX8" fmla="*/ 448372 w 483445"/>
                  <a:gd name="connsiteY8" fmla="*/ 210441 h 767825"/>
                  <a:gd name="connsiteX9" fmla="*/ 244567 w 483445"/>
                  <a:gd name="connsiteY9" fmla="*/ 420882 h 767825"/>
                  <a:gd name="connsiteX10" fmla="*/ 233191 w 483445"/>
                  <a:gd name="connsiteY10" fmla="*/ 420882 h 767825"/>
                  <a:gd name="connsiteX11" fmla="*/ 309974 w 483445"/>
                  <a:gd name="connsiteY11" fmla="*/ 507144 h 767825"/>
                  <a:gd name="connsiteX12" fmla="*/ 486290 w 483445"/>
                  <a:gd name="connsiteY12" fmla="*/ 767825 h 767825"/>
                  <a:gd name="connsiteX13" fmla="*/ 372538 w 483445"/>
                  <a:gd name="connsiteY13" fmla="*/ 767825 h 767825"/>
                  <a:gd name="connsiteX14" fmla="*/ 277744 w 483445"/>
                  <a:gd name="connsiteY14" fmla="*/ 92897 h 767825"/>
                  <a:gd name="connsiteX15" fmla="*/ 182003 w 483445"/>
                  <a:gd name="connsiteY15" fmla="*/ 76783 h 767825"/>
                  <a:gd name="connsiteX16" fmla="*/ 93845 w 483445"/>
                  <a:gd name="connsiteY16" fmla="*/ 76783 h 767825"/>
                  <a:gd name="connsiteX17" fmla="*/ 93845 w 483445"/>
                  <a:gd name="connsiteY17" fmla="*/ 363058 h 767825"/>
                  <a:gd name="connsiteX18" fmla="*/ 175368 w 483445"/>
                  <a:gd name="connsiteY18" fmla="*/ 363058 h 767825"/>
                  <a:gd name="connsiteX19" fmla="*/ 313766 w 483445"/>
                  <a:gd name="connsiteY19" fmla="*/ 324193 h 767825"/>
                  <a:gd name="connsiteX20" fmla="*/ 352631 w 483445"/>
                  <a:gd name="connsiteY20" fmla="*/ 209493 h 767825"/>
                  <a:gd name="connsiteX21" fmla="*/ 277744 w 483445"/>
                  <a:gd name="connsiteY21" fmla="*/ 92897 h 767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483445" h="767825">
                    <a:moveTo>
                      <a:pt x="372538" y="766877"/>
                    </a:moveTo>
                    <a:cubicBezTo>
                      <a:pt x="349787" y="716637"/>
                      <a:pt x="278692" y="599093"/>
                      <a:pt x="177264" y="469227"/>
                    </a:cubicBezTo>
                    <a:cubicBezTo>
                      <a:pt x="146930" y="431309"/>
                      <a:pt x="129867" y="420882"/>
                      <a:pt x="91950" y="419934"/>
                    </a:cubicBezTo>
                    <a:lnTo>
                      <a:pt x="91950" y="766877"/>
                    </a:lnTo>
                    <a:lnTo>
                      <a:pt x="0" y="766877"/>
                    </a:lnTo>
                    <a:lnTo>
                      <a:pt x="0" y="0"/>
                    </a:lnTo>
                    <a:lnTo>
                      <a:pt x="179159" y="0"/>
                    </a:lnTo>
                    <a:cubicBezTo>
                      <a:pt x="284380" y="0"/>
                      <a:pt x="335568" y="18959"/>
                      <a:pt x="372538" y="49292"/>
                    </a:cubicBezTo>
                    <a:cubicBezTo>
                      <a:pt x="407611" y="76783"/>
                      <a:pt x="448372" y="128919"/>
                      <a:pt x="448372" y="210441"/>
                    </a:cubicBezTo>
                    <a:cubicBezTo>
                      <a:pt x="448372" y="336516"/>
                      <a:pt x="366850" y="420882"/>
                      <a:pt x="244567" y="420882"/>
                    </a:cubicBezTo>
                    <a:lnTo>
                      <a:pt x="233191" y="420882"/>
                    </a:lnTo>
                    <a:cubicBezTo>
                      <a:pt x="269213" y="450268"/>
                      <a:pt x="294807" y="485341"/>
                      <a:pt x="309974" y="507144"/>
                    </a:cubicBezTo>
                    <a:cubicBezTo>
                      <a:pt x="342204" y="550749"/>
                      <a:pt x="486290" y="767825"/>
                      <a:pt x="486290" y="767825"/>
                    </a:cubicBezTo>
                    <a:lnTo>
                      <a:pt x="372538" y="767825"/>
                    </a:lnTo>
                    <a:close/>
                    <a:moveTo>
                      <a:pt x="277744" y="92897"/>
                    </a:moveTo>
                    <a:cubicBezTo>
                      <a:pt x="253098" y="82470"/>
                      <a:pt x="222764" y="76783"/>
                      <a:pt x="182003" y="76783"/>
                    </a:cubicBezTo>
                    <a:lnTo>
                      <a:pt x="93845" y="76783"/>
                    </a:lnTo>
                    <a:lnTo>
                      <a:pt x="93845" y="363058"/>
                    </a:lnTo>
                    <a:lnTo>
                      <a:pt x="175368" y="363058"/>
                    </a:lnTo>
                    <a:cubicBezTo>
                      <a:pt x="243619" y="363058"/>
                      <a:pt x="285328" y="350735"/>
                      <a:pt x="313766" y="324193"/>
                    </a:cubicBezTo>
                    <a:cubicBezTo>
                      <a:pt x="339360" y="300495"/>
                      <a:pt x="352631" y="259733"/>
                      <a:pt x="352631" y="209493"/>
                    </a:cubicBezTo>
                    <a:cubicBezTo>
                      <a:pt x="352631" y="158305"/>
                      <a:pt x="321349" y="110908"/>
                      <a:pt x="277744" y="92897"/>
                    </a:cubicBezTo>
                    <a:close/>
                  </a:path>
                </a:pathLst>
              </a:custGeom>
              <a:grpFill/>
              <a:ln w="9473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33" name="Freihandform: Form 32">
                <a:extLst>
                  <a:ext uri="{FF2B5EF4-FFF2-40B4-BE49-F238E27FC236}">
                    <a16:creationId xmlns:a16="http://schemas.microsoft.com/office/drawing/2014/main" id="{17D3852C-B81F-4181-B16F-13E98CE8F43E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3543371" y="-1116617"/>
                <a:ext cx="521363" cy="786784"/>
              </a:xfrm>
              <a:custGeom>
                <a:avLst/>
                <a:gdLst>
                  <a:gd name="connsiteX0" fmla="*/ 418038 w 521362"/>
                  <a:gd name="connsiteY0" fmla="*/ 748867 h 786783"/>
                  <a:gd name="connsiteX1" fmla="*/ 245515 w 521362"/>
                  <a:gd name="connsiteY1" fmla="*/ 795315 h 786783"/>
                  <a:gd name="connsiteX2" fmla="*/ 0 w 521362"/>
                  <a:gd name="connsiteY2" fmla="*/ 726116 h 786783"/>
                  <a:gd name="connsiteX3" fmla="*/ 39813 w 521362"/>
                  <a:gd name="connsiteY3" fmla="*/ 655021 h 786783"/>
                  <a:gd name="connsiteX4" fmla="*/ 245515 w 521362"/>
                  <a:gd name="connsiteY4" fmla="*/ 720429 h 786783"/>
                  <a:gd name="connsiteX5" fmla="*/ 367798 w 521362"/>
                  <a:gd name="connsiteY5" fmla="*/ 687251 h 786783"/>
                  <a:gd name="connsiteX6" fmla="*/ 422778 w 521362"/>
                  <a:gd name="connsiteY6" fmla="*/ 578239 h 786783"/>
                  <a:gd name="connsiteX7" fmla="*/ 285328 w 521362"/>
                  <a:gd name="connsiteY7" fmla="*/ 436049 h 786783"/>
                  <a:gd name="connsiteX8" fmla="*/ 208545 w 521362"/>
                  <a:gd name="connsiteY8" fmla="*/ 412351 h 786783"/>
                  <a:gd name="connsiteX9" fmla="*/ 72043 w 521362"/>
                  <a:gd name="connsiteY9" fmla="*/ 344099 h 786783"/>
                  <a:gd name="connsiteX10" fmla="*/ 23698 w 521362"/>
                  <a:gd name="connsiteY10" fmla="*/ 218972 h 786783"/>
                  <a:gd name="connsiteX11" fmla="*/ 272057 w 521362"/>
                  <a:gd name="connsiteY11" fmla="*/ 0 h 786783"/>
                  <a:gd name="connsiteX12" fmla="*/ 503352 w 521362"/>
                  <a:gd name="connsiteY12" fmla="*/ 73939 h 786783"/>
                  <a:gd name="connsiteX13" fmla="*/ 463539 w 521362"/>
                  <a:gd name="connsiteY13" fmla="*/ 139346 h 786783"/>
                  <a:gd name="connsiteX14" fmla="*/ 276796 w 521362"/>
                  <a:gd name="connsiteY14" fmla="*/ 74887 h 786783"/>
                  <a:gd name="connsiteX15" fmla="*/ 123231 w 521362"/>
                  <a:gd name="connsiteY15" fmla="*/ 200962 h 786783"/>
                  <a:gd name="connsiteX16" fmla="*/ 250254 w 521362"/>
                  <a:gd name="connsiteY16" fmla="*/ 326089 h 786783"/>
                  <a:gd name="connsiteX17" fmla="*/ 338412 w 521362"/>
                  <a:gd name="connsiteY17" fmla="*/ 353579 h 786783"/>
                  <a:gd name="connsiteX18" fmla="*/ 473966 w 521362"/>
                  <a:gd name="connsiteY18" fmla="*/ 430361 h 786783"/>
                  <a:gd name="connsiteX19" fmla="*/ 524207 w 521362"/>
                  <a:gd name="connsiteY19" fmla="*/ 564968 h 786783"/>
                  <a:gd name="connsiteX20" fmla="*/ 418038 w 521362"/>
                  <a:gd name="connsiteY20" fmla="*/ 748867 h 7867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521362" h="786783">
                    <a:moveTo>
                      <a:pt x="418038" y="748867"/>
                    </a:moveTo>
                    <a:cubicBezTo>
                      <a:pt x="367798" y="781096"/>
                      <a:pt x="316610" y="795315"/>
                      <a:pt x="245515" y="795315"/>
                    </a:cubicBezTo>
                    <a:cubicBezTo>
                      <a:pt x="153565" y="795315"/>
                      <a:pt x="75835" y="773513"/>
                      <a:pt x="0" y="726116"/>
                    </a:cubicBezTo>
                    <a:lnTo>
                      <a:pt x="39813" y="655021"/>
                    </a:lnTo>
                    <a:cubicBezTo>
                      <a:pt x="103325" y="700522"/>
                      <a:pt x="168732" y="720429"/>
                      <a:pt x="245515" y="720429"/>
                    </a:cubicBezTo>
                    <a:cubicBezTo>
                      <a:pt x="303338" y="720429"/>
                      <a:pt x="334620" y="711897"/>
                      <a:pt x="367798" y="687251"/>
                    </a:cubicBezTo>
                    <a:cubicBezTo>
                      <a:pt x="404767" y="659761"/>
                      <a:pt x="422778" y="622792"/>
                      <a:pt x="422778" y="578239"/>
                    </a:cubicBezTo>
                    <a:cubicBezTo>
                      <a:pt x="422778" y="509988"/>
                      <a:pt x="378225" y="463539"/>
                      <a:pt x="285328" y="436049"/>
                    </a:cubicBezTo>
                    <a:lnTo>
                      <a:pt x="208545" y="412351"/>
                    </a:lnTo>
                    <a:cubicBezTo>
                      <a:pt x="139346" y="391496"/>
                      <a:pt x="102377" y="375381"/>
                      <a:pt x="72043" y="344099"/>
                    </a:cubicBezTo>
                    <a:cubicBezTo>
                      <a:pt x="40761" y="310922"/>
                      <a:pt x="23698" y="268265"/>
                      <a:pt x="23698" y="218972"/>
                    </a:cubicBezTo>
                    <a:cubicBezTo>
                      <a:pt x="23698" y="89106"/>
                      <a:pt x="123231" y="0"/>
                      <a:pt x="272057" y="0"/>
                    </a:cubicBezTo>
                    <a:cubicBezTo>
                      <a:pt x="354527" y="0"/>
                      <a:pt x="430362" y="24646"/>
                      <a:pt x="503352" y="73939"/>
                    </a:cubicBezTo>
                    <a:lnTo>
                      <a:pt x="463539" y="139346"/>
                    </a:lnTo>
                    <a:cubicBezTo>
                      <a:pt x="389600" y="91001"/>
                      <a:pt x="343152" y="74887"/>
                      <a:pt x="276796" y="74887"/>
                    </a:cubicBezTo>
                    <a:cubicBezTo>
                      <a:pt x="181055" y="74887"/>
                      <a:pt x="123231" y="123231"/>
                      <a:pt x="123231" y="200962"/>
                    </a:cubicBezTo>
                    <a:cubicBezTo>
                      <a:pt x="123231" y="262577"/>
                      <a:pt x="160201" y="296703"/>
                      <a:pt x="250254" y="326089"/>
                    </a:cubicBezTo>
                    <a:lnTo>
                      <a:pt x="338412" y="353579"/>
                    </a:lnTo>
                    <a:cubicBezTo>
                      <a:pt x="406663" y="374433"/>
                      <a:pt x="442685" y="394340"/>
                      <a:pt x="473966" y="430361"/>
                    </a:cubicBezTo>
                    <a:cubicBezTo>
                      <a:pt x="505248" y="466383"/>
                      <a:pt x="524207" y="517571"/>
                      <a:pt x="524207" y="564968"/>
                    </a:cubicBezTo>
                    <a:cubicBezTo>
                      <a:pt x="524207" y="636063"/>
                      <a:pt x="486290" y="705262"/>
                      <a:pt x="418038" y="748867"/>
                    </a:cubicBezTo>
                    <a:close/>
                  </a:path>
                </a:pathLst>
              </a:custGeom>
              <a:grpFill/>
              <a:ln w="9473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34" name="Freihandform: Form 33">
                <a:extLst>
                  <a:ext uri="{FF2B5EF4-FFF2-40B4-BE49-F238E27FC236}">
                    <a16:creationId xmlns:a16="http://schemas.microsoft.com/office/drawing/2014/main" id="{6F30A400-A177-4FF8-B4E7-C1D89A52AC41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4235362" y="-1102398"/>
                <a:ext cx="85314" cy="758346"/>
              </a:xfrm>
              <a:custGeom>
                <a:avLst/>
                <a:gdLst>
                  <a:gd name="connsiteX0" fmla="*/ 0 w 85313"/>
                  <a:gd name="connsiteY0" fmla="*/ 766877 h 758345"/>
                  <a:gd name="connsiteX1" fmla="*/ 0 w 85313"/>
                  <a:gd name="connsiteY1" fmla="*/ 0 h 758345"/>
                  <a:gd name="connsiteX2" fmla="*/ 89106 w 85313"/>
                  <a:gd name="connsiteY2" fmla="*/ 0 h 758345"/>
                  <a:gd name="connsiteX3" fmla="*/ 89106 w 85313"/>
                  <a:gd name="connsiteY3" fmla="*/ 766877 h 758345"/>
                  <a:gd name="connsiteX4" fmla="*/ 0 w 85313"/>
                  <a:gd name="connsiteY4" fmla="*/ 766877 h 7583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313" h="758345">
                    <a:moveTo>
                      <a:pt x="0" y="766877"/>
                    </a:moveTo>
                    <a:lnTo>
                      <a:pt x="0" y="0"/>
                    </a:lnTo>
                    <a:lnTo>
                      <a:pt x="89106" y="0"/>
                    </a:lnTo>
                    <a:lnTo>
                      <a:pt x="89106" y="766877"/>
                    </a:lnTo>
                    <a:lnTo>
                      <a:pt x="0" y="766877"/>
                    </a:lnTo>
                    <a:close/>
                  </a:path>
                </a:pathLst>
              </a:custGeom>
              <a:grpFill/>
              <a:ln w="9473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35" name="Freihandform: Form 34">
                <a:extLst>
                  <a:ext uri="{FF2B5EF4-FFF2-40B4-BE49-F238E27FC236}">
                    <a16:creationId xmlns:a16="http://schemas.microsoft.com/office/drawing/2014/main" id="{AC634025-E54D-406D-A610-AE13D7756017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4459074" y="-1102398"/>
                <a:ext cx="502404" cy="758346"/>
              </a:xfrm>
              <a:custGeom>
                <a:avLst/>
                <a:gdLst>
                  <a:gd name="connsiteX0" fmla="*/ 501456 w 502404"/>
                  <a:gd name="connsiteY0" fmla="*/ 76783 h 758345"/>
                  <a:gd name="connsiteX1" fmla="*/ 293859 w 502404"/>
                  <a:gd name="connsiteY1" fmla="*/ 76783 h 758345"/>
                  <a:gd name="connsiteX2" fmla="*/ 293859 w 502404"/>
                  <a:gd name="connsiteY2" fmla="*/ 766877 h 758345"/>
                  <a:gd name="connsiteX3" fmla="*/ 205701 w 502404"/>
                  <a:gd name="connsiteY3" fmla="*/ 766877 h 758345"/>
                  <a:gd name="connsiteX4" fmla="*/ 205701 w 502404"/>
                  <a:gd name="connsiteY4" fmla="*/ 76783 h 758345"/>
                  <a:gd name="connsiteX5" fmla="*/ 0 w 502404"/>
                  <a:gd name="connsiteY5" fmla="*/ 76783 h 758345"/>
                  <a:gd name="connsiteX6" fmla="*/ 0 w 502404"/>
                  <a:gd name="connsiteY6" fmla="*/ 0 h 758345"/>
                  <a:gd name="connsiteX7" fmla="*/ 507144 w 502404"/>
                  <a:gd name="connsiteY7" fmla="*/ 0 h 758345"/>
                  <a:gd name="connsiteX8" fmla="*/ 501456 w 502404"/>
                  <a:gd name="connsiteY8" fmla="*/ 76783 h 7583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2404" h="758345">
                    <a:moveTo>
                      <a:pt x="501456" y="76783"/>
                    </a:moveTo>
                    <a:lnTo>
                      <a:pt x="293859" y="76783"/>
                    </a:lnTo>
                    <a:lnTo>
                      <a:pt x="293859" y="766877"/>
                    </a:lnTo>
                    <a:lnTo>
                      <a:pt x="205701" y="766877"/>
                    </a:lnTo>
                    <a:lnTo>
                      <a:pt x="205701" y="76783"/>
                    </a:lnTo>
                    <a:lnTo>
                      <a:pt x="0" y="76783"/>
                    </a:lnTo>
                    <a:lnTo>
                      <a:pt x="0" y="0"/>
                    </a:lnTo>
                    <a:lnTo>
                      <a:pt x="507144" y="0"/>
                    </a:lnTo>
                    <a:lnTo>
                      <a:pt x="501456" y="76783"/>
                    </a:lnTo>
                    <a:close/>
                  </a:path>
                </a:pathLst>
              </a:custGeom>
              <a:grpFill/>
              <a:ln w="9473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36" name="Freihandform: Form 35">
                <a:extLst>
                  <a:ext uri="{FF2B5EF4-FFF2-40B4-BE49-F238E27FC236}">
                    <a16:creationId xmlns:a16="http://schemas.microsoft.com/office/drawing/2014/main" id="{79F86905-EAB6-4CC5-9308-EEBF749869ED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4920717" y="-1266391"/>
                <a:ext cx="625636" cy="928974"/>
              </a:xfrm>
              <a:custGeom>
                <a:avLst/>
                <a:gdLst>
                  <a:gd name="connsiteX0" fmla="*/ 526103 w 625635"/>
                  <a:gd name="connsiteY0" fmla="*/ 930870 h 928973"/>
                  <a:gd name="connsiteX1" fmla="*/ 453112 w 625635"/>
                  <a:gd name="connsiteY1" fmla="*/ 694834 h 928973"/>
                  <a:gd name="connsiteX2" fmla="*/ 166836 w 625635"/>
                  <a:gd name="connsiteY2" fmla="*/ 694834 h 928973"/>
                  <a:gd name="connsiteX3" fmla="*/ 92898 w 625635"/>
                  <a:gd name="connsiteY3" fmla="*/ 930870 h 928973"/>
                  <a:gd name="connsiteX4" fmla="*/ 0 w 625635"/>
                  <a:gd name="connsiteY4" fmla="*/ 930870 h 928973"/>
                  <a:gd name="connsiteX5" fmla="*/ 255942 w 625635"/>
                  <a:gd name="connsiteY5" fmla="*/ 163992 h 928973"/>
                  <a:gd name="connsiteX6" fmla="*/ 375382 w 625635"/>
                  <a:gd name="connsiteY6" fmla="*/ 163992 h 928973"/>
                  <a:gd name="connsiteX7" fmla="*/ 629427 w 625635"/>
                  <a:gd name="connsiteY7" fmla="*/ 930870 h 928973"/>
                  <a:gd name="connsiteX8" fmla="*/ 526103 w 625635"/>
                  <a:gd name="connsiteY8" fmla="*/ 930870 h 928973"/>
                  <a:gd name="connsiteX9" fmla="*/ 201910 w 625635"/>
                  <a:gd name="connsiteY9" fmla="*/ 116596 h 928973"/>
                  <a:gd name="connsiteX10" fmla="*/ 144086 w 625635"/>
                  <a:gd name="connsiteY10" fmla="*/ 56876 h 928973"/>
                  <a:gd name="connsiteX11" fmla="*/ 200962 w 625635"/>
                  <a:gd name="connsiteY11" fmla="*/ 0 h 928973"/>
                  <a:gd name="connsiteX12" fmla="*/ 258786 w 625635"/>
                  <a:gd name="connsiteY12" fmla="*/ 56876 h 928973"/>
                  <a:gd name="connsiteX13" fmla="*/ 201910 w 625635"/>
                  <a:gd name="connsiteY13" fmla="*/ 116596 h 928973"/>
                  <a:gd name="connsiteX14" fmla="*/ 312818 w 625635"/>
                  <a:gd name="connsiteY14" fmla="*/ 244567 h 928973"/>
                  <a:gd name="connsiteX15" fmla="*/ 192431 w 625635"/>
                  <a:gd name="connsiteY15" fmla="*/ 619948 h 928973"/>
                  <a:gd name="connsiteX16" fmla="*/ 430362 w 625635"/>
                  <a:gd name="connsiteY16" fmla="*/ 619948 h 928973"/>
                  <a:gd name="connsiteX17" fmla="*/ 312818 w 625635"/>
                  <a:gd name="connsiteY17" fmla="*/ 244567 h 928973"/>
                  <a:gd name="connsiteX18" fmla="*/ 433205 w 625635"/>
                  <a:gd name="connsiteY18" fmla="*/ 116596 h 928973"/>
                  <a:gd name="connsiteX19" fmla="*/ 375382 w 625635"/>
                  <a:gd name="connsiteY19" fmla="*/ 56876 h 928973"/>
                  <a:gd name="connsiteX20" fmla="*/ 432258 w 625635"/>
                  <a:gd name="connsiteY20" fmla="*/ 0 h 928973"/>
                  <a:gd name="connsiteX21" fmla="*/ 490081 w 625635"/>
                  <a:gd name="connsiteY21" fmla="*/ 56876 h 928973"/>
                  <a:gd name="connsiteX22" fmla="*/ 433205 w 625635"/>
                  <a:gd name="connsiteY22" fmla="*/ 116596 h 9289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625635" h="928973">
                    <a:moveTo>
                      <a:pt x="526103" y="930870"/>
                    </a:moveTo>
                    <a:lnTo>
                      <a:pt x="453112" y="694834"/>
                    </a:lnTo>
                    <a:lnTo>
                      <a:pt x="166836" y="694834"/>
                    </a:lnTo>
                    <a:lnTo>
                      <a:pt x="92898" y="930870"/>
                    </a:lnTo>
                    <a:lnTo>
                      <a:pt x="0" y="930870"/>
                    </a:lnTo>
                    <a:lnTo>
                      <a:pt x="255942" y="163992"/>
                    </a:lnTo>
                    <a:lnTo>
                      <a:pt x="375382" y="163992"/>
                    </a:lnTo>
                    <a:lnTo>
                      <a:pt x="629427" y="930870"/>
                    </a:lnTo>
                    <a:lnTo>
                      <a:pt x="526103" y="930870"/>
                    </a:lnTo>
                    <a:close/>
                    <a:moveTo>
                      <a:pt x="201910" y="116596"/>
                    </a:moveTo>
                    <a:cubicBezTo>
                      <a:pt x="169680" y="116596"/>
                      <a:pt x="144086" y="90054"/>
                      <a:pt x="144086" y="56876"/>
                    </a:cubicBezTo>
                    <a:cubicBezTo>
                      <a:pt x="144086" y="25594"/>
                      <a:pt x="169680" y="0"/>
                      <a:pt x="200962" y="0"/>
                    </a:cubicBezTo>
                    <a:cubicBezTo>
                      <a:pt x="233192" y="0"/>
                      <a:pt x="258786" y="25594"/>
                      <a:pt x="258786" y="56876"/>
                    </a:cubicBezTo>
                    <a:cubicBezTo>
                      <a:pt x="258786" y="90054"/>
                      <a:pt x="234139" y="116596"/>
                      <a:pt x="201910" y="116596"/>
                    </a:cubicBezTo>
                    <a:close/>
                    <a:moveTo>
                      <a:pt x="312818" y="244567"/>
                    </a:moveTo>
                    <a:lnTo>
                      <a:pt x="192431" y="619948"/>
                    </a:lnTo>
                    <a:lnTo>
                      <a:pt x="430362" y="619948"/>
                    </a:lnTo>
                    <a:lnTo>
                      <a:pt x="312818" y="244567"/>
                    </a:lnTo>
                    <a:close/>
                    <a:moveTo>
                      <a:pt x="433205" y="116596"/>
                    </a:moveTo>
                    <a:cubicBezTo>
                      <a:pt x="400976" y="116596"/>
                      <a:pt x="375382" y="90054"/>
                      <a:pt x="375382" y="56876"/>
                    </a:cubicBezTo>
                    <a:cubicBezTo>
                      <a:pt x="375382" y="25594"/>
                      <a:pt x="400976" y="0"/>
                      <a:pt x="432258" y="0"/>
                    </a:cubicBezTo>
                    <a:cubicBezTo>
                      <a:pt x="464487" y="0"/>
                      <a:pt x="490081" y="25594"/>
                      <a:pt x="490081" y="56876"/>
                    </a:cubicBezTo>
                    <a:cubicBezTo>
                      <a:pt x="491030" y="90054"/>
                      <a:pt x="466383" y="116596"/>
                      <a:pt x="433205" y="116596"/>
                    </a:cubicBezTo>
                    <a:close/>
                  </a:path>
                </a:pathLst>
              </a:custGeom>
              <a:grpFill/>
              <a:ln w="9473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37" name="Freihandform: Form 36">
                <a:extLst>
                  <a:ext uri="{FF2B5EF4-FFF2-40B4-BE49-F238E27FC236}">
                    <a16:creationId xmlns:a16="http://schemas.microsoft.com/office/drawing/2014/main" id="{6CB7B25D-4D5F-4188-9D11-99F14BD6AFCD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5517914" y="-1102398"/>
                <a:ext cx="502404" cy="758346"/>
              </a:xfrm>
              <a:custGeom>
                <a:avLst/>
                <a:gdLst>
                  <a:gd name="connsiteX0" fmla="*/ 501457 w 502404"/>
                  <a:gd name="connsiteY0" fmla="*/ 76783 h 758345"/>
                  <a:gd name="connsiteX1" fmla="*/ 293859 w 502404"/>
                  <a:gd name="connsiteY1" fmla="*/ 76783 h 758345"/>
                  <a:gd name="connsiteX2" fmla="*/ 293859 w 502404"/>
                  <a:gd name="connsiteY2" fmla="*/ 766877 h 758345"/>
                  <a:gd name="connsiteX3" fmla="*/ 205701 w 502404"/>
                  <a:gd name="connsiteY3" fmla="*/ 766877 h 758345"/>
                  <a:gd name="connsiteX4" fmla="*/ 205701 w 502404"/>
                  <a:gd name="connsiteY4" fmla="*/ 76783 h 758345"/>
                  <a:gd name="connsiteX5" fmla="*/ 0 w 502404"/>
                  <a:gd name="connsiteY5" fmla="*/ 76783 h 758345"/>
                  <a:gd name="connsiteX6" fmla="*/ 0 w 502404"/>
                  <a:gd name="connsiteY6" fmla="*/ 0 h 758345"/>
                  <a:gd name="connsiteX7" fmla="*/ 507144 w 502404"/>
                  <a:gd name="connsiteY7" fmla="*/ 0 h 758345"/>
                  <a:gd name="connsiteX8" fmla="*/ 501457 w 502404"/>
                  <a:gd name="connsiteY8" fmla="*/ 76783 h 7583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2404" h="758345">
                    <a:moveTo>
                      <a:pt x="501457" y="76783"/>
                    </a:moveTo>
                    <a:lnTo>
                      <a:pt x="293859" y="76783"/>
                    </a:lnTo>
                    <a:lnTo>
                      <a:pt x="293859" y="766877"/>
                    </a:lnTo>
                    <a:lnTo>
                      <a:pt x="205701" y="766877"/>
                    </a:lnTo>
                    <a:lnTo>
                      <a:pt x="205701" y="76783"/>
                    </a:lnTo>
                    <a:lnTo>
                      <a:pt x="0" y="76783"/>
                    </a:lnTo>
                    <a:lnTo>
                      <a:pt x="0" y="0"/>
                    </a:lnTo>
                    <a:lnTo>
                      <a:pt x="507144" y="0"/>
                    </a:lnTo>
                    <a:lnTo>
                      <a:pt x="501457" y="76783"/>
                    </a:lnTo>
                    <a:close/>
                  </a:path>
                </a:pathLst>
              </a:custGeom>
              <a:grpFill/>
              <a:ln w="9473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38" name="Freihandform: Form 37">
                <a:extLst>
                  <a:ext uri="{FF2B5EF4-FFF2-40B4-BE49-F238E27FC236}">
                    <a16:creationId xmlns:a16="http://schemas.microsoft.com/office/drawing/2014/main" id="{97C799C9-8903-48FE-840B-762DA7C949B0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6461107" y="-1102398"/>
                <a:ext cx="473966" cy="758346"/>
              </a:xfrm>
              <a:custGeom>
                <a:avLst/>
                <a:gdLst>
                  <a:gd name="connsiteX0" fmla="*/ 409507 w 473966"/>
                  <a:gd name="connsiteY0" fmla="*/ 400975 h 758345"/>
                  <a:gd name="connsiteX1" fmla="*/ 223712 w 473966"/>
                  <a:gd name="connsiteY1" fmla="*/ 461643 h 758345"/>
                  <a:gd name="connsiteX2" fmla="*/ 89106 w 473966"/>
                  <a:gd name="connsiteY2" fmla="*/ 461643 h 758345"/>
                  <a:gd name="connsiteX3" fmla="*/ 89106 w 473966"/>
                  <a:gd name="connsiteY3" fmla="*/ 766877 h 758345"/>
                  <a:gd name="connsiteX4" fmla="*/ 0 w 473966"/>
                  <a:gd name="connsiteY4" fmla="*/ 766877 h 758345"/>
                  <a:gd name="connsiteX5" fmla="*/ 0 w 473966"/>
                  <a:gd name="connsiteY5" fmla="*/ 0 h 758345"/>
                  <a:gd name="connsiteX6" fmla="*/ 212337 w 473966"/>
                  <a:gd name="connsiteY6" fmla="*/ 0 h 758345"/>
                  <a:gd name="connsiteX7" fmla="*/ 380121 w 473966"/>
                  <a:gd name="connsiteY7" fmla="*/ 36021 h 758345"/>
                  <a:gd name="connsiteX8" fmla="*/ 478706 w 473966"/>
                  <a:gd name="connsiteY8" fmla="*/ 218972 h 758345"/>
                  <a:gd name="connsiteX9" fmla="*/ 409507 w 473966"/>
                  <a:gd name="connsiteY9" fmla="*/ 400975 h 758345"/>
                  <a:gd name="connsiteX10" fmla="*/ 331776 w 473966"/>
                  <a:gd name="connsiteY10" fmla="*/ 114700 h 758345"/>
                  <a:gd name="connsiteX11" fmla="*/ 186743 w 473966"/>
                  <a:gd name="connsiteY11" fmla="*/ 76783 h 758345"/>
                  <a:gd name="connsiteX12" fmla="*/ 89106 w 473966"/>
                  <a:gd name="connsiteY12" fmla="*/ 76783 h 758345"/>
                  <a:gd name="connsiteX13" fmla="*/ 89106 w 473966"/>
                  <a:gd name="connsiteY13" fmla="*/ 386756 h 758345"/>
                  <a:gd name="connsiteX14" fmla="*/ 218025 w 473966"/>
                  <a:gd name="connsiteY14" fmla="*/ 386756 h 758345"/>
                  <a:gd name="connsiteX15" fmla="*/ 337464 w 473966"/>
                  <a:gd name="connsiteY15" fmla="*/ 345047 h 758345"/>
                  <a:gd name="connsiteX16" fmla="*/ 376329 w 473966"/>
                  <a:gd name="connsiteY16" fmla="*/ 236983 h 758345"/>
                  <a:gd name="connsiteX17" fmla="*/ 331776 w 473966"/>
                  <a:gd name="connsiteY17" fmla="*/ 114700 h 7583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473966" h="758345">
                    <a:moveTo>
                      <a:pt x="409507" y="400975"/>
                    </a:moveTo>
                    <a:cubicBezTo>
                      <a:pt x="358319" y="446476"/>
                      <a:pt x="302391" y="461643"/>
                      <a:pt x="223712" y="461643"/>
                    </a:cubicBezTo>
                    <a:lnTo>
                      <a:pt x="89106" y="461643"/>
                    </a:lnTo>
                    <a:lnTo>
                      <a:pt x="89106" y="766877"/>
                    </a:lnTo>
                    <a:lnTo>
                      <a:pt x="0" y="766877"/>
                    </a:lnTo>
                    <a:lnTo>
                      <a:pt x="0" y="0"/>
                    </a:lnTo>
                    <a:lnTo>
                      <a:pt x="212337" y="0"/>
                    </a:lnTo>
                    <a:cubicBezTo>
                      <a:pt x="294807" y="0"/>
                      <a:pt x="338412" y="8531"/>
                      <a:pt x="380121" y="36021"/>
                    </a:cubicBezTo>
                    <a:cubicBezTo>
                      <a:pt x="444581" y="78678"/>
                      <a:pt x="478706" y="142190"/>
                      <a:pt x="478706" y="218972"/>
                    </a:cubicBezTo>
                    <a:cubicBezTo>
                      <a:pt x="478706" y="296703"/>
                      <a:pt x="459747" y="355475"/>
                      <a:pt x="409507" y="400975"/>
                    </a:cubicBezTo>
                    <a:close/>
                    <a:moveTo>
                      <a:pt x="331776" y="114700"/>
                    </a:moveTo>
                    <a:cubicBezTo>
                      <a:pt x="300495" y="88158"/>
                      <a:pt x="258786" y="76783"/>
                      <a:pt x="186743" y="76783"/>
                    </a:cubicBezTo>
                    <a:lnTo>
                      <a:pt x="89106" y="76783"/>
                    </a:lnTo>
                    <a:lnTo>
                      <a:pt x="89106" y="386756"/>
                    </a:lnTo>
                    <a:lnTo>
                      <a:pt x="218025" y="386756"/>
                    </a:lnTo>
                    <a:cubicBezTo>
                      <a:pt x="282484" y="386756"/>
                      <a:pt x="311870" y="374433"/>
                      <a:pt x="337464" y="345047"/>
                    </a:cubicBezTo>
                    <a:cubicBezTo>
                      <a:pt x="364006" y="314714"/>
                      <a:pt x="376329" y="280588"/>
                      <a:pt x="376329" y="236983"/>
                    </a:cubicBezTo>
                    <a:cubicBezTo>
                      <a:pt x="377278" y="180107"/>
                      <a:pt x="363059" y="142190"/>
                      <a:pt x="331776" y="114700"/>
                    </a:cubicBezTo>
                    <a:close/>
                  </a:path>
                </a:pathLst>
              </a:custGeom>
              <a:grpFill/>
              <a:ln w="9473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39" name="Freihandform: Form 38">
                <a:extLst>
                  <a:ext uri="{FF2B5EF4-FFF2-40B4-BE49-F238E27FC236}">
                    <a16:creationId xmlns:a16="http://schemas.microsoft.com/office/drawing/2014/main" id="{35CD1066-45A6-421A-BBF7-CF99BA4878D2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6933178" y="-1102398"/>
                <a:ext cx="625636" cy="758346"/>
              </a:xfrm>
              <a:custGeom>
                <a:avLst/>
                <a:gdLst>
                  <a:gd name="connsiteX0" fmla="*/ 526103 w 625635"/>
                  <a:gd name="connsiteY0" fmla="*/ 766877 h 758345"/>
                  <a:gd name="connsiteX1" fmla="*/ 453112 w 625635"/>
                  <a:gd name="connsiteY1" fmla="*/ 530842 h 758345"/>
                  <a:gd name="connsiteX2" fmla="*/ 166836 w 625635"/>
                  <a:gd name="connsiteY2" fmla="*/ 530842 h 758345"/>
                  <a:gd name="connsiteX3" fmla="*/ 92897 w 625635"/>
                  <a:gd name="connsiteY3" fmla="*/ 766877 h 758345"/>
                  <a:gd name="connsiteX4" fmla="*/ 0 w 625635"/>
                  <a:gd name="connsiteY4" fmla="*/ 766877 h 758345"/>
                  <a:gd name="connsiteX5" fmla="*/ 255942 w 625635"/>
                  <a:gd name="connsiteY5" fmla="*/ 0 h 758345"/>
                  <a:gd name="connsiteX6" fmla="*/ 375381 w 625635"/>
                  <a:gd name="connsiteY6" fmla="*/ 0 h 758345"/>
                  <a:gd name="connsiteX7" fmla="*/ 629427 w 625635"/>
                  <a:gd name="connsiteY7" fmla="*/ 766877 h 758345"/>
                  <a:gd name="connsiteX8" fmla="*/ 526103 w 625635"/>
                  <a:gd name="connsiteY8" fmla="*/ 766877 h 758345"/>
                  <a:gd name="connsiteX9" fmla="*/ 312818 w 625635"/>
                  <a:gd name="connsiteY9" fmla="*/ 80574 h 758345"/>
                  <a:gd name="connsiteX10" fmla="*/ 192430 w 625635"/>
                  <a:gd name="connsiteY10" fmla="*/ 455955 h 758345"/>
                  <a:gd name="connsiteX11" fmla="*/ 430361 w 625635"/>
                  <a:gd name="connsiteY11" fmla="*/ 455955 h 758345"/>
                  <a:gd name="connsiteX12" fmla="*/ 312818 w 625635"/>
                  <a:gd name="connsiteY12" fmla="*/ 80574 h 7583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625635" h="758345">
                    <a:moveTo>
                      <a:pt x="526103" y="766877"/>
                    </a:moveTo>
                    <a:lnTo>
                      <a:pt x="453112" y="530842"/>
                    </a:lnTo>
                    <a:lnTo>
                      <a:pt x="166836" y="530842"/>
                    </a:lnTo>
                    <a:lnTo>
                      <a:pt x="92897" y="766877"/>
                    </a:lnTo>
                    <a:lnTo>
                      <a:pt x="0" y="766877"/>
                    </a:lnTo>
                    <a:lnTo>
                      <a:pt x="255942" y="0"/>
                    </a:lnTo>
                    <a:lnTo>
                      <a:pt x="375381" y="0"/>
                    </a:lnTo>
                    <a:lnTo>
                      <a:pt x="629427" y="766877"/>
                    </a:lnTo>
                    <a:lnTo>
                      <a:pt x="526103" y="766877"/>
                    </a:lnTo>
                    <a:close/>
                    <a:moveTo>
                      <a:pt x="312818" y="80574"/>
                    </a:moveTo>
                    <a:lnTo>
                      <a:pt x="192430" y="455955"/>
                    </a:lnTo>
                    <a:lnTo>
                      <a:pt x="430361" y="455955"/>
                    </a:lnTo>
                    <a:lnTo>
                      <a:pt x="312818" y="80574"/>
                    </a:lnTo>
                    <a:close/>
                  </a:path>
                </a:pathLst>
              </a:custGeom>
              <a:grpFill/>
              <a:ln w="9473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40" name="Freihandform: Form 39">
                <a:extLst>
                  <a:ext uri="{FF2B5EF4-FFF2-40B4-BE49-F238E27FC236}">
                    <a16:creationId xmlns:a16="http://schemas.microsoft.com/office/drawing/2014/main" id="{62AE8E8D-5498-4083-8109-2FC9AC1B4F63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7681097" y="-1103346"/>
                <a:ext cx="521363" cy="758346"/>
              </a:xfrm>
              <a:custGeom>
                <a:avLst/>
                <a:gdLst>
                  <a:gd name="connsiteX0" fmla="*/ 441737 w 521362"/>
                  <a:gd name="connsiteY0" fmla="*/ 671136 h 758345"/>
                  <a:gd name="connsiteX1" fmla="*/ 200014 w 521362"/>
                  <a:gd name="connsiteY1" fmla="*/ 766877 h 758345"/>
                  <a:gd name="connsiteX2" fmla="*/ 0 w 521362"/>
                  <a:gd name="connsiteY2" fmla="*/ 766877 h 758345"/>
                  <a:gd name="connsiteX3" fmla="*/ 0 w 521362"/>
                  <a:gd name="connsiteY3" fmla="*/ 0 h 758345"/>
                  <a:gd name="connsiteX4" fmla="*/ 153565 w 521362"/>
                  <a:gd name="connsiteY4" fmla="*/ 0 h 758345"/>
                  <a:gd name="connsiteX5" fmla="*/ 399080 w 521362"/>
                  <a:gd name="connsiteY5" fmla="*/ 59720 h 758345"/>
                  <a:gd name="connsiteX6" fmla="*/ 528946 w 521362"/>
                  <a:gd name="connsiteY6" fmla="*/ 384861 h 758345"/>
                  <a:gd name="connsiteX7" fmla="*/ 441737 w 521362"/>
                  <a:gd name="connsiteY7" fmla="*/ 671136 h 758345"/>
                  <a:gd name="connsiteX8" fmla="*/ 363058 w 521362"/>
                  <a:gd name="connsiteY8" fmla="*/ 145982 h 758345"/>
                  <a:gd name="connsiteX9" fmla="*/ 182951 w 521362"/>
                  <a:gd name="connsiteY9" fmla="*/ 75835 h 758345"/>
                  <a:gd name="connsiteX10" fmla="*/ 91950 w 521362"/>
                  <a:gd name="connsiteY10" fmla="*/ 75835 h 758345"/>
                  <a:gd name="connsiteX11" fmla="*/ 91950 w 521362"/>
                  <a:gd name="connsiteY11" fmla="*/ 691991 h 758345"/>
                  <a:gd name="connsiteX12" fmla="*/ 183899 w 521362"/>
                  <a:gd name="connsiteY12" fmla="*/ 691991 h 758345"/>
                  <a:gd name="connsiteX13" fmla="*/ 378225 w 521362"/>
                  <a:gd name="connsiteY13" fmla="*/ 611416 h 758345"/>
                  <a:gd name="connsiteX14" fmla="*/ 429413 w 521362"/>
                  <a:gd name="connsiteY14" fmla="*/ 397184 h 758345"/>
                  <a:gd name="connsiteX15" fmla="*/ 363058 w 521362"/>
                  <a:gd name="connsiteY15" fmla="*/ 145982 h 7583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21362" h="758345">
                    <a:moveTo>
                      <a:pt x="441737" y="671136"/>
                    </a:moveTo>
                    <a:cubicBezTo>
                      <a:pt x="374433" y="746023"/>
                      <a:pt x="307130" y="766877"/>
                      <a:pt x="200014" y="766877"/>
                    </a:cubicBezTo>
                    <a:lnTo>
                      <a:pt x="0" y="766877"/>
                    </a:lnTo>
                    <a:lnTo>
                      <a:pt x="0" y="0"/>
                    </a:lnTo>
                    <a:lnTo>
                      <a:pt x="153565" y="0"/>
                    </a:lnTo>
                    <a:cubicBezTo>
                      <a:pt x="271109" y="0"/>
                      <a:pt x="324193" y="5688"/>
                      <a:pt x="399080" y="59720"/>
                    </a:cubicBezTo>
                    <a:cubicBezTo>
                      <a:pt x="486289" y="122283"/>
                      <a:pt x="528946" y="235087"/>
                      <a:pt x="528946" y="384861"/>
                    </a:cubicBezTo>
                    <a:cubicBezTo>
                      <a:pt x="528946" y="519467"/>
                      <a:pt x="492925" y="614260"/>
                      <a:pt x="441737" y="671136"/>
                    </a:cubicBezTo>
                    <a:close/>
                    <a:moveTo>
                      <a:pt x="363058" y="145982"/>
                    </a:moveTo>
                    <a:cubicBezTo>
                      <a:pt x="312818" y="86262"/>
                      <a:pt x="263525" y="75835"/>
                      <a:pt x="182951" y="75835"/>
                    </a:cubicBezTo>
                    <a:lnTo>
                      <a:pt x="91950" y="75835"/>
                    </a:lnTo>
                    <a:lnTo>
                      <a:pt x="91950" y="691991"/>
                    </a:lnTo>
                    <a:lnTo>
                      <a:pt x="183899" y="691991"/>
                    </a:lnTo>
                    <a:cubicBezTo>
                      <a:pt x="263525" y="691991"/>
                      <a:pt x="337464" y="683459"/>
                      <a:pt x="378225" y="611416"/>
                    </a:cubicBezTo>
                    <a:cubicBezTo>
                      <a:pt x="413299" y="551697"/>
                      <a:pt x="429413" y="476810"/>
                      <a:pt x="429413" y="397184"/>
                    </a:cubicBezTo>
                    <a:cubicBezTo>
                      <a:pt x="429413" y="281536"/>
                      <a:pt x="414247" y="207597"/>
                      <a:pt x="363058" y="145982"/>
                    </a:cubicBezTo>
                    <a:close/>
                  </a:path>
                </a:pathLst>
              </a:custGeom>
              <a:grpFill/>
              <a:ln w="9473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41" name="Freihandform: Form 40">
                <a:extLst>
                  <a:ext uri="{FF2B5EF4-FFF2-40B4-BE49-F238E27FC236}">
                    <a16:creationId xmlns:a16="http://schemas.microsoft.com/office/drawing/2014/main" id="{BACD9460-CF49-4CCE-8AFA-EA829F61478D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8388255" y="-1102398"/>
                <a:ext cx="426570" cy="758346"/>
              </a:xfrm>
              <a:custGeom>
                <a:avLst/>
                <a:gdLst>
                  <a:gd name="connsiteX0" fmla="*/ 0 w 426569"/>
                  <a:gd name="connsiteY0" fmla="*/ 766877 h 758345"/>
                  <a:gd name="connsiteX1" fmla="*/ 0 w 426569"/>
                  <a:gd name="connsiteY1" fmla="*/ 0 h 758345"/>
                  <a:gd name="connsiteX2" fmla="*/ 418986 w 426569"/>
                  <a:gd name="connsiteY2" fmla="*/ 0 h 758345"/>
                  <a:gd name="connsiteX3" fmla="*/ 406663 w 426569"/>
                  <a:gd name="connsiteY3" fmla="*/ 75835 h 758345"/>
                  <a:gd name="connsiteX4" fmla="*/ 92897 w 426569"/>
                  <a:gd name="connsiteY4" fmla="*/ 75835 h 758345"/>
                  <a:gd name="connsiteX5" fmla="*/ 92897 w 426569"/>
                  <a:gd name="connsiteY5" fmla="*/ 327037 h 758345"/>
                  <a:gd name="connsiteX6" fmla="*/ 355475 w 426569"/>
                  <a:gd name="connsiteY6" fmla="*/ 327037 h 758345"/>
                  <a:gd name="connsiteX7" fmla="*/ 355475 w 426569"/>
                  <a:gd name="connsiteY7" fmla="*/ 406663 h 758345"/>
                  <a:gd name="connsiteX8" fmla="*/ 92897 w 426569"/>
                  <a:gd name="connsiteY8" fmla="*/ 406663 h 758345"/>
                  <a:gd name="connsiteX9" fmla="*/ 92897 w 426569"/>
                  <a:gd name="connsiteY9" fmla="*/ 687251 h 758345"/>
                  <a:gd name="connsiteX10" fmla="*/ 430361 w 426569"/>
                  <a:gd name="connsiteY10" fmla="*/ 687251 h 758345"/>
                  <a:gd name="connsiteX11" fmla="*/ 430361 w 426569"/>
                  <a:gd name="connsiteY11" fmla="*/ 766877 h 758345"/>
                  <a:gd name="connsiteX12" fmla="*/ 0 w 426569"/>
                  <a:gd name="connsiteY12" fmla="*/ 766877 h 7583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26569" h="758345">
                    <a:moveTo>
                      <a:pt x="0" y="766877"/>
                    </a:moveTo>
                    <a:lnTo>
                      <a:pt x="0" y="0"/>
                    </a:lnTo>
                    <a:lnTo>
                      <a:pt x="418986" y="0"/>
                    </a:lnTo>
                    <a:lnTo>
                      <a:pt x="406663" y="75835"/>
                    </a:lnTo>
                    <a:lnTo>
                      <a:pt x="92897" y="75835"/>
                    </a:lnTo>
                    <a:lnTo>
                      <a:pt x="92897" y="327037"/>
                    </a:lnTo>
                    <a:lnTo>
                      <a:pt x="355475" y="327037"/>
                    </a:lnTo>
                    <a:lnTo>
                      <a:pt x="355475" y="406663"/>
                    </a:lnTo>
                    <a:lnTo>
                      <a:pt x="92897" y="406663"/>
                    </a:lnTo>
                    <a:lnTo>
                      <a:pt x="92897" y="687251"/>
                    </a:lnTo>
                    <a:lnTo>
                      <a:pt x="430361" y="687251"/>
                    </a:lnTo>
                    <a:lnTo>
                      <a:pt x="430361" y="766877"/>
                    </a:lnTo>
                    <a:lnTo>
                      <a:pt x="0" y="766877"/>
                    </a:lnTo>
                    <a:close/>
                  </a:path>
                </a:pathLst>
              </a:custGeom>
              <a:grpFill/>
              <a:ln w="9473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42" name="Freihandform: Form 41">
                <a:extLst>
                  <a:ext uri="{FF2B5EF4-FFF2-40B4-BE49-F238E27FC236}">
                    <a16:creationId xmlns:a16="http://schemas.microsoft.com/office/drawing/2014/main" id="{1A2EDC15-F78D-46EB-9689-77CDA868823D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8969337" y="-1102398"/>
                <a:ext cx="483446" cy="767825"/>
              </a:xfrm>
              <a:custGeom>
                <a:avLst/>
                <a:gdLst>
                  <a:gd name="connsiteX0" fmla="*/ 372537 w 483445"/>
                  <a:gd name="connsiteY0" fmla="*/ 766877 h 767825"/>
                  <a:gd name="connsiteX1" fmla="*/ 177264 w 483445"/>
                  <a:gd name="connsiteY1" fmla="*/ 469227 h 767825"/>
                  <a:gd name="connsiteX2" fmla="*/ 91950 w 483445"/>
                  <a:gd name="connsiteY2" fmla="*/ 419934 h 767825"/>
                  <a:gd name="connsiteX3" fmla="*/ 91950 w 483445"/>
                  <a:gd name="connsiteY3" fmla="*/ 766877 h 767825"/>
                  <a:gd name="connsiteX4" fmla="*/ 0 w 483445"/>
                  <a:gd name="connsiteY4" fmla="*/ 766877 h 767825"/>
                  <a:gd name="connsiteX5" fmla="*/ 0 w 483445"/>
                  <a:gd name="connsiteY5" fmla="*/ 0 h 767825"/>
                  <a:gd name="connsiteX6" fmla="*/ 179159 w 483445"/>
                  <a:gd name="connsiteY6" fmla="*/ 0 h 767825"/>
                  <a:gd name="connsiteX7" fmla="*/ 372537 w 483445"/>
                  <a:gd name="connsiteY7" fmla="*/ 49292 h 767825"/>
                  <a:gd name="connsiteX8" fmla="*/ 448372 w 483445"/>
                  <a:gd name="connsiteY8" fmla="*/ 210441 h 767825"/>
                  <a:gd name="connsiteX9" fmla="*/ 244566 w 483445"/>
                  <a:gd name="connsiteY9" fmla="*/ 420882 h 767825"/>
                  <a:gd name="connsiteX10" fmla="*/ 233191 w 483445"/>
                  <a:gd name="connsiteY10" fmla="*/ 420882 h 767825"/>
                  <a:gd name="connsiteX11" fmla="*/ 309974 w 483445"/>
                  <a:gd name="connsiteY11" fmla="*/ 507144 h 767825"/>
                  <a:gd name="connsiteX12" fmla="*/ 486289 w 483445"/>
                  <a:gd name="connsiteY12" fmla="*/ 767825 h 767825"/>
                  <a:gd name="connsiteX13" fmla="*/ 372537 w 483445"/>
                  <a:gd name="connsiteY13" fmla="*/ 767825 h 767825"/>
                  <a:gd name="connsiteX14" fmla="*/ 277744 w 483445"/>
                  <a:gd name="connsiteY14" fmla="*/ 92897 h 767825"/>
                  <a:gd name="connsiteX15" fmla="*/ 182003 w 483445"/>
                  <a:gd name="connsiteY15" fmla="*/ 76783 h 767825"/>
                  <a:gd name="connsiteX16" fmla="*/ 93845 w 483445"/>
                  <a:gd name="connsiteY16" fmla="*/ 76783 h 767825"/>
                  <a:gd name="connsiteX17" fmla="*/ 93845 w 483445"/>
                  <a:gd name="connsiteY17" fmla="*/ 363058 h 767825"/>
                  <a:gd name="connsiteX18" fmla="*/ 175368 w 483445"/>
                  <a:gd name="connsiteY18" fmla="*/ 363058 h 767825"/>
                  <a:gd name="connsiteX19" fmla="*/ 313765 w 483445"/>
                  <a:gd name="connsiteY19" fmla="*/ 324193 h 767825"/>
                  <a:gd name="connsiteX20" fmla="*/ 352631 w 483445"/>
                  <a:gd name="connsiteY20" fmla="*/ 209493 h 767825"/>
                  <a:gd name="connsiteX21" fmla="*/ 277744 w 483445"/>
                  <a:gd name="connsiteY21" fmla="*/ 92897 h 767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483445" h="767825">
                    <a:moveTo>
                      <a:pt x="372537" y="766877"/>
                    </a:moveTo>
                    <a:cubicBezTo>
                      <a:pt x="349787" y="716637"/>
                      <a:pt x="278692" y="599093"/>
                      <a:pt x="177264" y="469227"/>
                    </a:cubicBezTo>
                    <a:cubicBezTo>
                      <a:pt x="146930" y="431309"/>
                      <a:pt x="129867" y="420882"/>
                      <a:pt x="91950" y="419934"/>
                    </a:cubicBezTo>
                    <a:lnTo>
                      <a:pt x="91950" y="766877"/>
                    </a:lnTo>
                    <a:lnTo>
                      <a:pt x="0" y="766877"/>
                    </a:lnTo>
                    <a:lnTo>
                      <a:pt x="0" y="0"/>
                    </a:lnTo>
                    <a:lnTo>
                      <a:pt x="179159" y="0"/>
                    </a:lnTo>
                    <a:cubicBezTo>
                      <a:pt x="284380" y="0"/>
                      <a:pt x="335568" y="18959"/>
                      <a:pt x="372537" y="49292"/>
                    </a:cubicBezTo>
                    <a:cubicBezTo>
                      <a:pt x="407611" y="76783"/>
                      <a:pt x="448372" y="128919"/>
                      <a:pt x="448372" y="210441"/>
                    </a:cubicBezTo>
                    <a:cubicBezTo>
                      <a:pt x="448372" y="336516"/>
                      <a:pt x="366850" y="420882"/>
                      <a:pt x="244566" y="420882"/>
                    </a:cubicBezTo>
                    <a:lnTo>
                      <a:pt x="233191" y="420882"/>
                    </a:lnTo>
                    <a:cubicBezTo>
                      <a:pt x="269213" y="450268"/>
                      <a:pt x="294807" y="485341"/>
                      <a:pt x="309974" y="507144"/>
                    </a:cubicBezTo>
                    <a:cubicBezTo>
                      <a:pt x="342203" y="550749"/>
                      <a:pt x="486289" y="767825"/>
                      <a:pt x="486289" y="767825"/>
                    </a:cubicBezTo>
                    <a:lnTo>
                      <a:pt x="372537" y="767825"/>
                    </a:lnTo>
                    <a:close/>
                    <a:moveTo>
                      <a:pt x="277744" y="92897"/>
                    </a:moveTo>
                    <a:cubicBezTo>
                      <a:pt x="253098" y="82470"/>
                      <a:pt x="222764" y="76783"/>
                      <a:pt x="182003" y="76783"/>
                    </a:cubicBezTo>
                    <a:lnTo>
                      <a:pt x="93845" y="76783"/>
                    </a:lnTo>
                    <a:lnTo>
                      <a:pt x="93845" y="363058"/>
                    </a:lnTo>
                    <a:lnTo>
                      <a:pt x="175368" y="363058"/>
                    </a:lnTo>
                    <a:cubicBezTo>
                      <a:pt x="243619" y="363058"/>
                      <a:pt x="285327" y="350735"/>
                      <a:pt x="313765" y="324193"/>
                    </a:cubicBezTo>
                    <a:cubicBezTo>
                      <a:pt x="339360" y="300495"/>
                      <a:pt x="352631" y="259733"/>
                      <a:pt x="352631" y="209493"/>
                    </a:cubicBezTo>
                    <a:cubicBezTo>
                      <a:pt x="352631" y="158305"/>
                      <a:pt x="321349" y="110908"/>
                      <a:pt x="277744" y="92897"/>
                    </a:cubicBezTo>
                    <a:close/>
                  </a:path>
                </a:pathLst>
              </a:custGeom>
              <a:grpFill/>
              <a:ln w="9473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43" name="Freihandform: Form 42">
                <a:extLst>
                  <a:ext uri="{FF2B5EF4-FFF2-40B4-BE49-F238E27FC236}">
                    <a16:creationId xmlns:a16="http://schemas.microsoft.com/office/drawing/2014/main" id="{03751E26-AD78-405C-8F2B-84D27E14EA91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9591181" y="-1102398"/>
                <a:ext cx="502404" cy="758346"/>
              </a:xfrm>
              <a:custGeom>
                <a:avLst/>
                <a:gdLst>
                  <a:gd name="connsiteX0" fmla="*/ 382964 w 502404"/>
                  <a:gd name="connsiteY0" fmla="*/ 744127 h 758345"/>
                  <a:gd name="connsiteX1" fmla="*/ 198118 w 502404"/>
                  <a:gd name="connsiteY1" fmla="*/ 766877 h 758345"/>
                  <a:gd name="connsiteX2" fmla="*/ 0 w 502404"/>
                  <a:gd name="connsiteY2" fmla="*/ 766877 h 758345"/>
                  <a:gd name="connsiteX3" fmla="*/ 0 w 502404"/>
                  <a:gd name="connsiteY3" fmla="*/ 0 h 758345"/>
                  <a:gd name="connsiteX4" fmla="*/ 110908 w 502404"/>
                  <a:gd name="connsiteY4" fmla="*/ 0 h 758345"/>
                  <a:gd name="connsiteX5" fmla="*/ 339360 w 502404"/>
                  <a:gd name="connsiteY5" fmla="*/ 17063 h 758345"/>
                  <a:gd name="connsiteX6" fmla="*/ 470175 w 502404"/>
                  <a:gd name="connsiteY6" fmla="*/ 192430 h 758345"/>
                  <a:gd name="connsiteX7" fmla="*/ 332725 w 502404"/>
                  <a:gd name="connsiteY7" fmla="*/ 360214 h 758345"/>
                  <a:gd name="connsiteX8" fmla="*/ 433205 w 502404"/>
                  <a:gd name="connsiteY8" fmla="*/ 400027 h 758345"/>
                  <a:gd name="connsiteX9" fmla="*/ 502405 w 502404"/>
                  <a:gd name="connsiteY9" fmla="*/ 556436 h 758345"/>
                  <a:gd name="connsiteX10" fmla="*/ 382964 w 502404"/>
                  <a:gd name="connsiteY10" fmla="*/ 744127 h 758345"/>
                  <a:gd name="connsiteX11" fmla="*/ 281536 w 502404"/>
                  <a:gd name="connsiteY11" fmla="*/ 83418 h 758345"/>
                  <a:gd name="connsiteX12" fmla="*/ 198118 w 502404"/>
                  <a:gd name="connsiteY12" fmla="*/ 76783 h 758345"/>
                  <a:gd name="connsiteX13" fmla="*/ 90054 w 502404"/>
                  <a:gd name="connsiteY13" fmla="*/ 76783 h 758345"/>
                  <a:gd name="connsiteX14" fmla="*/ 90054 w 502404"/>
                  <a:gd name="connsiteY14" fmla="*/ 329880 h 758345"/>
                  <a:gd name="connsiteX15" fmla="*/ 222765 w 502404"/>
                  <a:gd name="connsiteY15" fmla="*/ 329880 h 758345"/>
                  <a:gd name="connsiteX16" fmla="*/ 357371 w 502404"/>
                  <a:gd name="connsiteY16" fmla="*/ 263525 h 758345"/>
                  <a:gd name="connsiteX17" fmla="*/ 369694 w 502404"/>
                  <a:gd name="connsiteY17" fmla="*/ 203805 h 758345"/>
                  <a:gd name="connsiteX18" fmla="*/ 281536 w 502404"/>
                  <a:gd name="connsiteY18" fmla="*/ 83418 h 758345"/>
                  <a:gd name="connsiteX19" fmla="*/ 313766 w 502404"/>
                  <a:gd name="connsiteY19" fmla="*/ 413298 h 758345"/>
                  <a:gd name="connsiteX20" fmla="*/ 224660 w 502404"/>
                  <a:gd name="connsiteY20" fmla="*/ 405715 h 758345"/>
                  <a:gd name="connsiteX21" fmla="*/ 89106 w 502404"/>
                  <a:gd name="connsiteY21" fmla="*/ 405715 h 758345"/>
                  <a:gd name="connsiteX22" fmla="*/ 89106 w 502404"/>
                  <a:gd name="connsiteY22" fmla="*/ 691991 h 758345"/>
                  <a:gd name="connsiteX23" fmla="*/ 252150 w 502404"/>
                  <a:gd name="connsiteY23" fmla="*/ 691991 h 758345"/>
                  <a:gd name="connsiteX24" fmla="*/ 406663 w 502404"/>
                  <a:gd name="connsiteY24" fmla="*/ 548853 h 758345"/>
                  <a:gd name="connsiteX25" fmla="*/ 313766 w 502404"/>
                  <a:gd name="connsiteY25" fmla="*/ 413298 h 7583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502404" h="758345">
                    <a:moveTo>
                      <a:pt x="382964" y="744127"/>
                    </a:moveTo>
                    <a:cubicBezTo>
                      <a:pt x="341256" y="760242"/>
                      <a:pt x="312818" y="766877"/>
                      <a:pt x="198118" y="766877"/>
                    </a:cubicBezTo>
                    <a:lnTo>
                      <a:pt x="0" y="766877"/>
                    </a:lnTo>
                    <a:lnTo>
                      <a:pt x="0" y="0"/>
                    </a:lnTo>
                    <a:lnTo>
                      <a:pt x="110908" y="0"/>
                    </a:lnTo>
                    <a:cubicBezTo>
                      <a:pt x="262577" y="0"/>
                      <a:pt x="299547" y="3792"/>
                      <a:pt x="339360" y="17063"/>
                    </a:cubicBezTo>
                    <a:cubicBezTo>
                      <a:pt x="418039" y="43605"/>
                      <a:pt x="470175" y="114700"/>
                      <a:pt x="470175" y="192430"/>
                    </a:cubicBezTo>
                    <a:cubicBezTo>
                      <a:pt x="470175" y="272057"/>
                      <a:pt x="419934" y="331776"/>
                      <a:pt x="332725" y="360214"/>
                    </a:cubicBezTo>
                    <a:cubicBezTo>
                      <a:pt x="380121" y="368746"/>
                      <a:pt x="407612" y="380121"/>
                      <a:pt x="433205" y="400027"/>
                    </a:cubicBezTo>
                    <a:cubicBezTo>
                      <a:pt x="483446" y="437945"/>
                      <a:pt x="502405" y="500508"/>
                      <a:pt x="502405" y="556436"/>
                    </a:cubicBezTo>
                    <a:cubicBezTo>
                      <a:pt x="502405" y="640802"/>
                      <a:pt x="457851" y="715689"/>
                      <a:pt x="382964" y="744127"/>
                    </a:cubicBezTo>
                    <a:close/>
                    <a:moveTo>
                      <a:pt x="281536" y="83418"/>
                    </a:moveTo>
                    <a:cubicBezTo>
                      <a:pt x="260682" y="77730"/>
                      <a:pt x="236984" y="76783"/>
                      <a:pt x="198118" y="76783"/>
                    </a:cubicBezTo>
                    <a:lnTo>
                      <a:pt x="90054" y="76783"/>
                    </a:lnTo>
                    <a:lnTo>
                      <a:pt x="90054" y="329880"/>
                    </a:lnTo>
                    <a:lnTo>
                      <a:pt x="222765" y="329880"/>
                    </a:lnTo>
                    <a:cubicBezTo>
                      <a:pt x="305234" y="329880"/>
                      <a:pt x="334620" y="315662"/>
                      <a:pt x="357371" y="263525"/>
                    </a:cubicBezTo>
                    <a:cubicBezTo>
                      <a:pt x="364955" y="245514"/>
                      <a:pt x="369694" y="225608"/>
                      <a:pt x="369694" y="203805"/>
                    </a:cubicBezTo>
                    <a:cubicBezTo>
                      <a:pt x="368745" y="144086"/>
                      <a:pt x="333672" y="96689"/>
                      <a:pt x="281536" y="83418"/>
                    </a:cubicBezTo>
                    <a:close/>
                    <a:moveTo>
                      <a:pt x="313766" y="413298"/>
                    </a:moveTo>
                    <a:cubicBezTo>
                      <a:pt x="292911" y="408559"/>
                      <a:pt x="262577" y="405715"/>
                      <a:pt x="224660" y="405715"/>
                    </a:cubicBezTo>
                    <a:lnTo>
                      <a:pt x="89106" y="405715"/>
                    </a:lnTo>
                    <a:lnTo>
                      <a:pt x="89106" y="691991"/>
                    </a:lnTo>
                    <a:lnTo>
                      <a:pt x="252150" y="691991"/>
                    </a:lnTo>
                    <a:cubicBezTo>
                      <a:pt x="364955" y="691991"/>
                      <a:pt x="406663" y="640802"/>
                      <a:pt x="406663" y="548853"/>
                    </a:cubicBezTo>
                    <a:cubicBezTo>
                      <a:pt x="406663" y="481550"/>
                      <a:pt x="368745" y="424674"/>
                      <a:pt x="313766" y="413298"/>
                    </a:cubicBezTo>
                    <a:close/>
                  </a:path>
                </a:pathLst>
              </a:custGeom>
              <a:grpFill/>
              <a:ln w="9473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44" name="Freihandform: Form 43">
                <a:extLst>
                  <a:ext uri="{FF2B5EF4-FFF2-40B4-BE49-F238E27FC236}">
                    <a16:creationId xmlns:a16="http://schemas.microsoft.com/office/drawing/2014/main" id="{FF3CA26B-FFB5-431D-88F6-5F8244D00875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10238619" y="-1116617"/>
                <a:ext cx="616156" cy="786784"/>
              </a:xfrm>
              <a:custGeom>
                <a:avLst/>
                <a:gdLst>
                  <a:gd name="connsiteX0" fmla="*/ 504301 w 616156"/>
                  <a:gd name="connsiteY0" fmla="*/ 721376 h 786783"/>
                  <a:gd name="connsiteX1" fmla="*/ 309975 w 616156"/>
                  <a:gd name="connsiteY1" fmla="*/ 795315 h 786783"/>
                  <a:gd name="connsiteX2" fmla="*/ 91950 w 616156"/>
                  <a:gd name="connsiteY2" fmla="*/ 697678 h 786783"/>
                  <a:gd name="connsiteX3" fmla="*/ 0 w 616156"/>
                  <a:gd name="connsiteY3" fmla="*/ 393392 h 786783"/>
                  <a:gd name="connsiteX4" fmla="*/ 305235 w 616156"/>
                  <a:gd name="connsiteY4" fmla="*/ 0 h 786783"/>
                  <a:gd name="connsiteX5" fmla="*/ 546958 w 616156"/>
                  <a:gd name="connsiteY5" fmla="*/ 125127 h 786783"/>
                  <a:gd name="connsiteX6" fmla="*/ 616156 w 616156"/>
                  <a:gd name="connsiteY6" fmla="*/ 409507 h 786783"/>
                  <a:gd name="connsiteX7" fmla="*/ 504301 w 616156"/>
                  <a:gd name="connsiteY7" fmla="*/ 721376 h 786783"/>
                  <a:gd name="connsiteX8" fmla="*/ 476811 w 616156"/>
                  <a:gd name="connsiteY8" fmla="*/ 179159 h 786783"/>
                  <a:gd name="connsiteX9" fmla="*/ 306183 w 616156"/>
                  <a:gd name="connsiteY9" fmla="*/ 73939 h 786783"/>
                  <a:gd name="connsiteX10" fmla="*/ 142190 w 616156"/>
                  <a:gd name="connsiteY10" fmla="*/ 163044 h 786783"/>
                  <a:gd name="connsiteX11" fmla="*/ 103325 w 616156"/>
                  <a:gd name="connsiteY11" fmla="*/ 374433 h 786783"/>
                  <a:gd name="connsiteX12" fmla="*/ 152617 w 616156"/>
                  <a:gd name="connsiteY12" fmla="*/ 641750 h 786783"/>
                  <a:gd name="connsiteX13" fmla="*/ 315662 w 616156"/>
                  <a:gd name="connsiteY13" fmla="*/ 724220 h 786783"/>
                  <a:gd name="connsiteX14" fmla="*/ 458800 w 616156"/>
                  <a:gd name="connsiteY14" fmla="*/ 657865 h 786783"/>
                  <a:gd name="connsiteX15" fmla="*/ 514728 w 616156"/>
                  <a:gd name="connsiteY15" fmla="*/ 421830 h 786783"/>
                  <a:gd name="connsiteX16" fmla="*/ 476811 w 616156"/>
                  <a:gd name="connsiteY16" fmla="*/ 179159 h 7867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616156" h="786783">
                    <a:moveTo>
                      <a:pt x="504301" y="721376"/>
                    </a:moveTo>
                    <a:cubicBezTo>
                      <a:pt x="447425" y="772565"/>
                      <a:pt x="388652" y="795315"/>
                      <a:pt x="309975" y="795315"/>
                    </a:cubicBezTo>
                    <a:cubicBezTo>
                      <a:pt x="216129" y="795315"/>
                      <a:pt x="143138" y="757398"/>
                      <a:pt x="91950" y="697678"/>
                    </a:cubicBezTo>
                    <a:cubicBezTo>
                      <a:pt x="31282" y="628479"/>
                      <a:pt x="0" y="524207"/>
                      <a:pt x="0" y="393392"/>
                    </a:cubicBezTo>
                    <a:cubicBezTo>
                      <a:pt x="0" y="149773"/>
                      <a:pt x="116596" y="0"/>
                      <a:pt x="305235" y="0"/>
                    </a:cubicBezTo>
                    <a:cubicBezTo>
                      <a:pt x="437946" y="0"/>
                      <a:pt x="509988" y="70147"/>
                      <a:pt x="546958" y="125127"/>
                    </a:cubicBezTo>
                    <a:cubicBezTo>
                      <a:pt x="595302" y="196222"/>
                      <a:pt x="616156" y="286276"/>
                      <a:pt x="616156" y="409507"/>
                    </a:cubicBezTo>
                    <a:cubicBezTo>
                      <a:pt x="616156" y="557384"/>
                      <a:pt x="582979" y="650282"/>
                      <a:pt x="504301" y="721376"/>
                    </a:cubicBezTo>
                    <a:close/>
                    <a:moveTo>
                      <a:pt x="476811" y="179159"/>
                    </a:moveTo>
                    <a:cubicBezTo>
                      <a:pt x="450268" y="122283"/>
                      <a:pt x="394340" y="73939"/>
                      <a:pt x="306183" y="73939"/>
                    </a:cubicBezTo>
                    <a:cubicBezTo>
                      <a:pt x="235088" y="73939"/>
                      <a:pt x="170628" y="109012"/>
                      <a:pt x="142190" y="163044"/>
                    </a:cubicBezTo>
                    <a:cubicBezTo>
                      <a:pt x="115648" y="213285"/>
                      <a:pt x="103325" y="279640"/>
                      <a:pt x="103325" y="374433"/>
                    </a:cubicBezTo>
                    <a:cubicBezTo>
                      <a:pt x="103325" y="489133"/>
                      <a:pt x="122284" y="590562"/>
                      <a:pt x="152617" y="641750"/>
                    </a:cubicBezTo>
                    <a:cubicBezTo>
                      <a:pt x="182004" y="691043"/>
                      <a:pt x="253099" y="724220"/>
                      <a:pt x="315662" y="724220"/>
                    </a:cubicBezTo>
                    <a:cubicBezTo>
                      <a:pt x="378225" y="724220"/>
                      <a:pt x="423727" y="701470"/>
                      <a:pt x="458800" y="657865"/>
                    </a:cubicBezTo>
                    <a:cubicBezTo>
                      <a:pt x="496717" y="609521"/>
                      <a:pt x="514728" y="547905"/>
                      <a:pt x="514728" y="421830"/>
                    </a:cubicBezTo>
                    <a:cubicBezTo>
                      <a:pt x="513780" y="309974"/>
                      <a:pt x="502404" y="233191"/>
                      <a:pt x="476811" y="179159"/>
                    </a:cubicBezTo>
                    <a:close/>
                  </a:path>
                </a:pathLst>
              </a:custGeom>
              <a:grpFill/>
              <a:ln w="9473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45" name="Freihandform: Form 44">
                <a:extLst>
                  <a:ext uri="{FF2B5EF4-FFF2-40B4-BE49-F238E27FC236}">
                    <a16:creationId xmlns:a16="http://schemas.microsoft.com/office/drawing/2014/main" id="{FD6B2F0E-9321-464B-A9DF-9309FAB0C80B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11033934" y="-1102398"/>
                <a:ext cx="483446" cy="767825"/>
              </a:xfrm>
              <a:custGeom>
                <a:avLst/>
                <a:gdLst>
                  <a:gd name="connsiteX0" fmla="*/ 372538 w 483445"/>
                  <a:gd name="connsiteY0" fmla="*/ 766877 h 767825"/>
                  <a:gd name="connsiteX1" fmla="*/ 177263 w 483445"/>
                  <a:gd name="connsiteY1" fmla="*/ 469227 h 767825"/>
                  <a:gd name="connsiteX2" fmla="*/ 91949 w 483445"/>
                  <a:gd name="connsiteY2" fmla="*/ 419934 h 767825"/>
                  <a:gd name="connsiteX3" fmla="*/ 91949 w 483445"/>
                  <a:gd name="connsiteY3" fmla="*/ 766877 h 767825"/>
                  <a:gd name="connsiteX4" fmla="*/ 0 w 483445"/>
                  <a:gd name="connsiteY4" fmla="*/ 766877 h 767825"/>
                  <a:gd name="connsiteX5" fmla="*/ 0 w 483445"/>
                  <a:gd name="connsiteY5" fmla="*/ 0 h 767825"/>
                  <a:gd name="connsiteX6" fmla="*/ 179159 w 483445"/>
                  <a:gd name="connsiteY6" fmla="*/ 0 h 767825"/>
                  <a:gd name="connsiteX7" fmla="*/ 372538 w 483445"/>
                  <a:gd name="connsiteY7" fmla="*/ 49292 h 767825"/>
                  <a:gd name="connsiteX8" fmla="*/ 448373 w 483445"/>
                  <a:gd name="connsiteY8" fmla="*/ 210441 h 767825"/>
                  <a:gd name="connsiteX9" fmla="*/ 244567 w 483445"/>
                  <a:gd name="connsiteY9" fmla="*/ 420882 h 767825"/>
                  <a:gd name="connsiteX10" fmla="*/ 233191 w 483445"/>
                  <a:gd name="connsiteY10" fmla="*/ 420882 h 767825"/>
                  <a:gd name="connsiteX11" fmla="*/ 309974 w 483445"/>
                  <a:gd name="connsiteY11" fmla="*/ 507144 h 767825"/>
                  <a:gd name="connsiteX12" fmla="*/ 486290 w 483445"/>
                  <a:gd name="connsiteY12" fmla="*/ 767825 h 767825"/>
                  <a:gd name="connsiteX13" fmla="*/ 372538 w 483445"/>
                  <a:gd name="connsiteY13" fmla="*/ 767825 h 767825"/>
                  <a:gd name="connsiteX14" fmla="*/ 277745 w 483445"/>
                  <a:gd name="connsiteY14" fmla="*/ 92897 h 767825"/>
                  <a:gd name="connsiteX15" fmla="*/ 182003 w 483445"/>
                  <a:gd name="connsiteY15" fmla="*/ 76783 h 767825"/>
                  <a:gd name="connsiteX16" fmla="*/ 93846 w 483445"/>
                  <a:gd name="connsiteY16" fmla="*/ 76783 h 767825"/>
                  <a:gd name="connsiteX17" fmla="*/ 93846 w 483445"/>
                  <a:gd name="connsiteY17" fmla="*/ 363058 h 767825"/>
                  <a:gd name="connsiteX18" fmla="*/ 175368 w 483445"/>
                  <a:gd name="connsiteY18" fmla="*/ 363058 h 767825"/>
                  <a:gd name="connsiteX19" fmla="*/ 313765 w 483445"/>
                  <a:gd name="connsiteY19" fmla="*/ 324193 h 767825"/>
                  <a:gd name="connsiteX20" fmla="*/ 352630 w 483445"/>
                  <a:gd name="connsiteY20" fmla="*/ 209493 h 767825"/>
                  <a:gd name="connsiteX21" fmla="*/ 277745 w 483445"/>
                  <a:gd name="connsiteY21" fmla="*/ 92897 h 767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483445" h="767825">
                    <a:moveTo>
                      <a:pt x="372538" y="766877"/>
                    </a:moveTo>
                    <a:cubicBezTo>
                      <a:pt x="349787" y="716637"/>
                      <a:pt x="278692" y="599093"/>
                      <a:pt x="177263" y="469227"/>
                    </a:cubicBezTo>
                    <a:cubicBezTo>
                      <a:pt x="146930" y="431309"/>
                      <a:pt x="129866" y="420882"/>
                      <a:pt x="91949" y="419934"/>
                    </a:cubicBezTo>
                    <a:lnTo>
                      <a:pt x="91949" y="766877"/>
                    </a:lnTo>
                    <a:lnTo>
                      <a:pt x="0" y="766877"/>
                    </a:lnTo>
                    <a:lnTo>
                      <a:pt x="0" y="0"/>
                    </a:lnTo>
                    <a:lnTo>
                      <a:pt x="179159" y="0"/>
                    </a:lnTo>
                    <a:cubicBezTo>
                      <a:pt x="284380" y="0"/>
                      <a:pt x="335568" y="18959"/>
                      <a:pt x="372538" y="49292"/>
                    </a:cubicBezTo>
                    <a:cubicBezTo>
                      <a:pt x="407611" y="76783"/>
                      <a:pt x="448373" y="128919"/>
                      <a:pt x="448373" y="210441"/>
                    </a:cubicBezTo>
                    <a:cubicBezTo>
                      <a:pt x="448373" y="336516"/>
                      <a:pt x="366849" y="420882"/>
                      <a:pt x="244567" y="420882"/>
                    </a:cubicBezTo>
                    <a:lnTo>
                      <a:pt x="233191" y="420882"/>
                    </a:lnTo>
                    <a:cubicBezTo>
                      <a:pt x="269213" y="450268"/>
                      <a:pt x="294807" y="485341"/>
                      <a:pt x="309974" y="507144"/>
                    </a:cubicBezTo>
                    <a:cubicBezTo>
                      <a:pt x="342203" y="550749"/>
                      <a:pt x="486290" y="767825"/>
                      <a:pt x="486290" y="767825"/>
                    </a:cubicBezTo>
                    <a:lnTo>
                      <a:pt x="372538" y="767825"/>
                    </a:lnTo>
                    <a:close/>
                    <a:moveTo>
                      <a:pt x="277745" y="92897"/>
                    </a:moveTo>
                    <a:cubicBezTo>
                      <a:pt x="253098" y="82470"/>
                      <a:pt x="222764" y="76783"/>
                      <a:pt x="182003" y="76783"/>
                    </a:cubicBezTo>
                    <a:lnTo>
                      <a:pt x="93846" y="76783"/>
                    </a:lnTo>
                    <a:lnTo>
                      <a:pt x="93846" y="363058"/>
                    </a:lnTo>
                    <a:lnTo>
                      <a:pt x="175368" y="363058"/>
                    </a:lnTo>
                    <a:cubicBezTo>
                      <a:pt x="243618" y="363058"/>
                      <a:pt x="285327" y="350735"/>
                      <a:pt x="313765" y="324193"/>
                    </a:cubicBezTo>
                    <a:cubicBezTo>
                      <a:pt x="339360" y="300495"/>
                      <a:pt x="352630" y="259733"/>
                      <a:pt x="352630" y="209493"/>
                    </a:cubicBezTo>
                    <a:cubicBezTo>
                      <a:pt x="352630" y="158305"/>
                      <a:pt x="320402" y="110908"/>
                      <a:pt x="277745" y="92897"/>
                    </a:cubicBezTo>
                    <a:close/>
                  </a:path>
                </a:pathLst>
              </a:custGeom>
              <a:grpFill/>
              <a:ln w="9473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46" name="Freihandform: Form 45">
                <a:extLst>
                  <a:ext uri="{FF2B5EF4-FFF2-40B4-BE49-F238E27FC236}">
                    <a16:creationId xmlns:a16="http://schemas.microsoft.com/office/drawing/2014/main" id="{01E38A45-96D1-4400-8A27-1F253198EC89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11656725" y="-1102398"/>
                <a:ext cx="502404" cy="758346"/>
              </a:xfrm>
              <a:custGeom>
                <a:avLst/>
                <a:gdLst>
                  <a:gd name="connsiteX0" fmla="*/ 412351 w 502404"/>
                  <a:gd name="connsiteY0" fmla="*/ 766877 h 758345"/>
                  <a:gd name="connsiteX1" fmla="*/ 166837 w 502404"/>
                  <a:gd name="connsiteY1" fmla="*/ 297651 h 758345"/>
                  <a:gd name="connsiteX2" fmla="*/ 79627 w 502404"/>
                  <a:gd name="connsiteY2" fmla="*/ 112804 h 758345"/>
                  <a:gd name="connsiteX3" fmla="*/ 90054 w 502404"/>
                  <a:gd name="connsiteY3" fmla="*/ 322297 h 758345"/>
                  <a:gd name="connsiteX4" fmla="*/ 94793 w 502404"/>
                  <a:gd name="connsiteY4" fmla="*/ 766877 h 758345"/>
                  <a:gd name="connsiteX5" fmla="*/ 0 w 502404"/>
                  <a:gd name="connsiteY5" fmla="*/ 766877 h 758345"/>
                  <a:gd name="connsiteX6" fmla="*/ 0 w 502404"/>
                  <a:gd name="connsiteY6" fmla="*/ 0 h 758345"/>
                  <a:gd name="connsiteX7" fmla="*/ 106169 w 502404"/>
                  <a:gd name="connsiteY7" fmla="*/ 0 h 758345"/>
                  <a:gd name="connsiteX8" fmla="*/ 361163 w 502404"/>
                  <a:gd name="connsiteY8" fmla="*/ 490081 h 758345"/>
                  <a:gd name="connsiteX9" fmla="*/ 432258 w 502404"/>
                  <a:gd name="connsiteY9" fmla="*/ 651230 h 758345"/>
                  <a:gd name="connsiteX10" fmla="*/ 421830 w 502404"/>
                  <a:gd name="connsiteY10" fmla="*/ 417090 h 758345"/>
                  <a:gd name="connsiteX11" fmla="*/ 418039 w 502404"/>
                  <a:gd name="connsiteY11" fmla="*/ 0 h 758345"/>
                  <a:gd name="connsiteX12" fmla="*/ 509041 w 502404"/>
                  <a:gd name="connsiteY12" fmla="*/ 0 h 758345"/>
                  <a:gd name="connsiteX13" fmla="*/ 509041 w 502404"/>
                  <a:gd name="connsiteY13" fmla="*/ 766877 h 758345"/>
                  <a:gd name="connsiteX14" fmla="*/ 412351 w 502404"/>
                  <a:gd name="connsiteY14" fmla="*/ 766877 h 7583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02404" h="758345">
                    <a:moveTo>
                      <a:pt x="412351" y="766877"/>
                    </a:moveTo>
                    <a:lnTo>
                      <a:pt x="166837" y="297651"/>
                    </a:lnTo>
                    <a:cubicBezTo>
                      <a:pt x="117544" y="204753"/>
                      <a:pt x="79627" y="112804"/>
                      <a:pt x="79627" y="112804"/>
                    </a:cubicBezTo>
                    <a:cubicBezTo>
                      <a:pt x="79627" y="112804"/>
                      <a:pt x="88158" y="222764"/>
                      <a:pt x="90054" y="322297"/>
                    </a:cubicBezTo>
                    <a:lnTo>
                      <a:pt x="94793" y="766877"/>
                    </a:lnTo>
                    <a:lnTo>
                      <a:pt x="0" y="766877"/>
                    </a:lnTo>
                    <a:lnTo>
                      <a:pt x="0" y="0"/>
                    </a:lnTo>
                    <a:lnTo>
                      <a:pt x="106169" y="0"/>
                    </a:lnTo>
                    <a:lnTo>
                      <a:pt x="361163" y="490081"/>
                    </a:lnTo>
                    <a:cubicBezTo>
                      <a:pt x="399081" y="563072"/>
                      <a:pt x="429414" y="643646"/>
                      <a:pt x="432258" y="651230"/>
                    </a:cubicBezTo>
                    <a:cubicBezTo>
                      <a:pt x="432258" y="649334"/>
                      <a:pt x="423727" y="527050"/>
                      <a:pt x="421830" y="417090"/>
                    </a:cubicBezTo>
                    <a:lnTo>
                      <a:pt x="418039" y="0"/>
                    </a:lnTo>
                    <a:lnTo>
                      <a:pt x="509041" y="0"/>
                    </a:lnTo>
                    <a:lnTo>
                      <a:pt x="509041" y="766877"/>
                    </a:lnTo>
                    <a:lnTo>
                      <a:pt x="412351" y="766877"/>
                    </a:lnTo>
                    <a:close/>
                  </a:path>
                </a:pathLst>
              </a:custGeom>
              <a:grpFill/>
              <a:ln w="9473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302044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2"/>
          <p:cNvSpPr>
            <a:spLocks noGrp="1"/>
          </p:cNvSpPr>
          <p:nvPr>
            <p:ph idx="10"/>
          </p:nvPr>
        </p:nvSpPr>
        <p:spPr>
          <a:xfrm>
            <a:off x="4876179" y="1590683"/>
            <a:ext cx="6723468" cy="4430713"/>
          </a:xfrm>
        </p:spPr>
        <p:txBody>
          <a:bodyPr/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Bildplatzhalter 2"/>
          <p:cNvSpPr>
            <a:spLocks noGrp="1"/>
          </p:cNvSpPr>
          <p:nvPr>
            <p:ph type="pic" sz="quarter" idx="11"/>
          </p:nvPr>
        </p:nvSpPr>
        <p:spPr>
          <a:xfrm>
            <a:off x="578264" y="1590683"/>
            <a:ext cx="3678187" cy="4430713"/>
          </a:xfr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578263" y="334799"/>
            <a:ext cx="11021384" cy="1255875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89300153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e 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78263" y="334799"/>
            <a:ext cx="11021384" cy="1255875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82382148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35319" y="1351313"/>
            <a:ext cx="10013345" cy="5174035"/>
          </a:xfrm>
          <a:prstGeom prst="rect">
            <a:avLst/>
          </a:prstGeom>
        </p:spPr>
        <p:txBody>
          <a:bodyPr lIns="95778" tIns="47889" rIns="95778" bIns="47889"/>
          <a:lstStyle>
            <a:lvl1pPr marL="342900" indent="-342900">
              <a:buFont typeface="Wingdings" panose="05000000000000000000" pitchFamily="2" charset="2"/>
              <a:buChar char="§"/>
              <a:defRPr sz="1800">
                <a:latin typeface="Arial" pitchFamily="34" charset="0"/>
                <a:cs typeface="Arial" pitchFamily="34" charset="0"/>
              </a:defRPr>
            </a:lvl1pPr>
            <a:lvl2pPr>
              <a:defRPr sz="1600">
                <a:latin typeface="Arial" pitchFamily="34" charset="0"/>
                <a:cs typeface="Arial" pitchFamily="34" charset="0"/>
              </a:defRPr>
            </a:lvl2pPr>
            <a:lvl3pPr>
              <a:defRPr sz="1400">
                <a:latin typeface="Arial" pitchFamily="34" charset="0"/>
                <a:cs typeface="Arial" pitchFamily="34" charset="0"/>
              </a:defRPr>
            </a:lvl3pPr>
            <a:lvl4pPr algn="l">
              <a:defRPr sz="1400">
                <a:latin typeface="Arial" pitchFamily="34" charset="0"/>
                <a:cs typeface="Arial" pitchFamily="34" charset="0"/>
              </a:defRPr>
            </a:lvl4pPr>
            <a:lvl5pPr>
              <a:defRPr sz="14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Titelplatzhalter 3"/>
          <p:cNvSpPr>
            <a:spLocks noGrp="1"/>
          </p:cNvSpPr>
          <p:nvPr>
            <p:ph type="title"/>
          </p:nvPr>
        </p:nvSpPr>
        <p:spPr>
          <a:xfrm>
            <a:off x="330760" y="280519"/>
            <a:ext cx="8548402" cy="435268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95778" tIns="47889" rIns="95778" bIns="47889">
            <a:spAutoFit/>
          </a:bodyPr>
          <a:lstStyle>
            <a:lvl1pPr algn="l">
              <a:defRPr sz="2200" b="1" baseline="0">
                <a:solidFill>
                  <a:srgbClr val="B91C3B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2278204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 userDrawn="1"/>
        </p:nvSpPr>
        <p:spPr>
          <a:xfrm>
            <a:off x="0" y="1"/>
            <a:ext cx="12190413" cy="17136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99" tIns="60949" rIns="121899" bIns="60949" rtlCol="0" anchor="ctr"/>
          <a:lstStyle/>
          <a:p>
            <a:pPr algn="ctr"/>
            <a:endParaRPr lang="de-DE" sz="240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/>
          </p:nvPr>
        </p:nvSpPr>
        <p:spPr>
          <a:xfrm>
            <a:off x="0" y="1713600"/>
            <a:ext cx="12190413" cy="5144400"/>
          </a:xfrm>
          <a:prstGeom prst="rect">
            <a:avLst/>
          </a:prstGeom>
        </p:spPr>
        <p:txBody>
          <a:bodyPr vert="horz" lIns="68589" tIns="34295" rIns="68589" bIns="34295"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7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685891" y="5144402"/>
            <a:ext cx="10834511" cy="718661"/>
          </a:xfrm>
          <a:prstGeom prst="rect">
            <a:avLst/>
          </a:prstGeom>
        </p:spPr>
        <p:txBody>
          <a:bodyPr lIns="0" tIns="34295" rIns="68589" bIns="34295"/>
          <a:lstStyle>
            <a:lvl1pPr marL="0" indent="0" algn="ctr">
              <a:lnSpc>
                <a:spcPts val="2500"/>
              </a:lnSpc>
              <a:buNone/>
              <a:defRPr lang="en-GB" sz="2666" b="1" kern="1200" baseline="0" dirty="0" smtClean="0">
                <a:solidFill>
                  <a:srgbClr val="6F6F6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 err="1"/>
              <a:t>Titel</a:t>
            </a:r>
            <a:r>
              <a:rPr lang="en-GB"/>
              <a:t> / Title of the presentation</a:t>
            </a:r>
          </a:p>
        </p:txBody>
      </p:sp>
      <p:sp>
        <p:nvSpPr>
          <p:cNvPr id="8" name="Textplatzhalt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685889" y="5863061"/>
            <a:ext cx="10834512" cy="385483"/>
          </a:xfrm>
          <a:prstGeom prst="rect">
            <a:avLst/>
          </a:prstGeom>
        </p:spPr>
        <p:txBody>
          <a:bodyPr lIns="68589" tIns="34295" rIns="68589" bIns="34295"/>
          <a:lstStyle>
            <a:lvl1pPr marL="0" indent="0" algn="ctr">
              <a:buNone/>
              <a:defRPr sz="2000" baseline="0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en-GB"/>
              <a:t>Name des/der </a:t>
            </a:r>
            <a:r>
              <a:rPr lang="en-GB" err="1"/>
              <a:t>Autoren</a:t>
            </a:r>
            <a:r>
              <a:rPr lang="en-GB"/>
              <a:t> </a:t>
            </a:r>
            <a:r>
              <a:rPr lang="en-GB" err="1"/>
              <a:t>oder</a:t>
            </a:r>
            <a:r>
              <a:rPr lang="en-GB"/>
              <a:t> </a:t>
            </a:r>
            <a:r>
              <a:rPr lang="en-GB" err="1"/>
              <a:t>Referenten</a:t>
            </a:r>
            <a:r>
              <a:rPr lang="en-GB"/>
              <a:t> / </a:t>
            </a:r>
            <a:r>
              <a:rPr lang="en-US"/>
              <a:t>name of the speakers or authors</a:t>
            </a:r>
            <a:endParaRPr lang="en-GB"/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85889" y="6172201"/>
            <a:ext cx="10834512" cy="685801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ctr">
              <a:buNone/>
              <a:defRPr sz="160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/>
              <a:t>Position/ </a:t>
            </a:r>
            <a:r>
              <a:rPr lang="en-GB" err="1"/>
              <a:t>Funktion</a:t>
            </a:r>
            <a:r>
              <a:rPr lang="en-GB"/>
              <a:t> / Function in the company </a:t>
            </a:r>
          </a:p>
        </p:txBody>
      </p:sp>
      <p:pic>
        <p:nvPicPr>
          <p:cNvPr id="10" name="Bild 9" descr="SCB_Logo_RGB_aligned+claim-62-5mm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70349" y="385885"/>
            <a:ext cx="2249716" cy="9418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133350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517558" y="651516"/>
            <a:ext cx="9002844" cy="66198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Espace réservé du texte 5"/>
          <p:cNvSpPr>
            <a:spLocks noGrp="1"/>
          </p:cNvSpPr>
          <p:nvPr>
            <p:ph type="body" sz="quarter" idx="11" hasCustomPrompt="1"/>
          </p:nvPr>
        </p:nvSpPr>
        <p:spPr>
          <a:xfrm>
            <a:off x="4120102" y="1718149"/>
            <a:ext cx="5547447" cy="669600"/>
          </a:xfrm>
          <a:prstGeom prst="rect">
            <a:avLst/>
          </a:prstGeom>
          <a:solidFill>
            <a:schemeClr val="accent2"/>
          </a:solidFill>
        </p:spPr>
        <p:txBody>
          <a:bodyPr lIns="189025" tIns="0" rIns="189025" bIns="0" anchor="ctr"/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bg1"/>
                </a:solidFill>
                <a:cs typeface="Arial"/>
              </a:defRPr>
            </a:lvl1pPr>
          </a:lstStyle>
          <a:p>
            <a:pPr lvl="0"/>
            <a:r>
              <a:rPr lang="en-US" noProof="0"/>
              <a:t>First item</a:t>
            </a:r>
          </a:p>
        </p:txBody>
      </p:sp>
      <p:sp>
        <p:nvSpPr>
          <p:cNvPr id="4" name="Espace réservé du texte 5"/>
          <p:cNvSpPr>
            <a:spLocks noGrp="1"/>
          </p:cNvSpPr>
          <p:nvPr>
            <p:ph type="body" sz="quarter" idx="13" hasCustomPrompt="1"/>
          </p:nvPr>
        </p:nvSpPr>
        <p:spPr>
          <a:xfrm>
            <a:off x="4120102" y="2476627"/>
            <a:ext cx="5547447" cy="66960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txBody>
          <a:bodyPr lIns="189025" tIns="0" rIns="189025" bIns="0" anchor="ctr"/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bg1"/>
                </a:solidFill>
                <a:cs typeface="Arial"/>
              </a:defRPr>
            </a:lvl1pPr>
          </a:lstStyle>
          <a:p>
            <a:pPr lvl="0"/>
            <a:r>
              <a:rPr lang="en-US" noProof="0"/>
              <a:t>Second item</a:t>
            </a:r>
          </a:p>
        </p:txBody>
      </p:sp>
      <p:sp>
        <p:nvSpPr>
          <p:cNvPr id="5" name="Espace réservé du texte 5"/>
          <p:cNvSpPr>
            <a:spLocks noGrp="1"/>
          </p:cNvSpPr>
          <p:nvPr>
            <p:ph type="body" sz="quarter" idx="15" hasCustomPrompt="1"/>
          </p:nvPr>
        </p:nvSpPr>
        <p:spPr>
          <a:xfrm>
            <a:off x="4120102" y="3235105"/>
            <a:ext cx="5547447" cy="66960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txBody>
          <a:bodyPr lIns="189025" tIns="0" rIns="189025" bIns="0" anchor="ctr"/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bg1"/>
                </a:solidFill>
                <a:cs typeface="Arial"/>
              </a:defRPr>
            </a:lvl1pPr>
          </a:lstStyle>
          <a:p>
            <a:pPr lvl="0"/>
            <a:r>
              <a:rPr lang="en-US" noProof="0"/>
              <a:t>Third item</a:t>
            </a:r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7" hasCustomPrompt="1"/>
          </p:nvPr>
        </p:nvSpPr>
        <p:spPr>
          <a:xfrm>
            <a:off x="4120102" y="3993583"/>
            <a:ext cx="5547447" cy="66960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txBody>
          <a:bodyPr lIns="189025" tIns="0" rIns="189025" bIns="0" anchor="ctr"/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bg1"/>
                </a:solidFill>
                <a:cs typeface="Arial"/>
              </a:defRPr>
            </a:lvl1pPr>
          </a:lstStyle>
          <a:p>
            <a:pPr lvl="0"/>
            <a:r>
              <a:rPr lang="en-US" noProof="0"/>
              <a:t>Fourth item</a:t>
            </a:r>
          </a:p>
        </p:txBody>
      </p:sp>
      <p:sp>
        <p:nvSpPr>
          <p:cNvPr id="7" name="Espace réservé du texte 5"/>
          <p:cNvSpPr>
            <a:spLocks noGrp="1"/>
          </p:cNvSpPr>
          <p:nvPr>
            <p:ph type="body" sz="quarter" idx="19" hasCustomPrompt="1"/>
          </p:nvPr>
        </p:nvSpPr>
        <p:spPr>
          <a:xfrm>
            <a:off x="4120102" y="4752061"/>
            <a:ext cx="5547447" cy="66960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txBody>
          <a:bodyPr lIns="189025" tIns="0" rIns="189025" bIns="0" anchor="ctr"/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bg1"/>
                </a:solidFill>
                <a:cs typeface="Arial"/>
              </a:defRPr>
            </a:lvl1pPr>
          </a:lstStyle>
          <a:p>
            <a:pPr lvl="0"/>
            <a:r>
              <a:rPr lang="en-US" noProof="0"/>
              <a:t>Fifth item</a:t>
            </a:r>
          </a:p>
        </p:txBody>
      </p:sp>
      <p:sp>
        <p:nvSpPr>
          <p:cNvPr id="8" name="Bildplatzhalter 2"/>
          <p:cNvSpPr>
            <a:spLocks noGrp="1"/>
          </p:cNvSpPr>
          <p:nvPr>
            <p:ph type="pic" sz="quarter" idx="20"/>
          </p:nvPr>
        </p:nvSpPr>
        <p:spPr>
          <a:xfrm>
            <a:off x="2519691" y="1718149"/>
            <a:ext cx="1601997" cy="6696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vert="horz" lIns="0" tIns="0" rIns="0" bIns="0"/>
          <a:lstStyle>
            <a:lvl1pPr marL="0" indent="0">
              <a:buNone/>
              <a:defRPr sz="1067">
                <a:solidFill>
                  <a:schemeClr val="accent5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3" name="Bildplatzhalter 2"/>
          <p:cNvSpPr>
            <a:spLocks noGrp="1"/>
          </p:cNvSpPr>
          <p:nvPr>
            <p:ph type="pic" sz="quarter" idx="21"/>
          </p:nvPr>
        </p:nvSpPr>
        <p:spPr>
          <a:xfrm>
            <a:off x="2519691" y="2477020"/>
            <a:ext cx="1601997" cy="6696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vert="horz" lIns="0" tIns="0" rIns="0" bIns="0"/>
          <a:lstStyle>
            <a:lvl1pPr marL="0" indent="0">
              <a:buNone/>
              <a:defRPr sz="1067">
                <a:solidFill>
                  <a:schemeClr val="accent5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4" name="Bildplatzhalter 2"/>
          <p:cNvSpPr>
            <a:spLocks noGrp="1"/>
          </p:cNvSpPr>
          <p:nvPr>
            <p:ph type="pic" sz="quarter" idx="22"/>
          </p:nvPr>
        </p:nvSpPr>
        <p:spPr>
          <a:xfrm>
            <a:off x="2519691" y="3235891"/>
            <a:ext cx="1601997" cy="6696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vert="horz" lIns="0" tIns="0" rIns="0" bIns="0"/>
          <a:lstStyle>
            <a:lvl1pPr marL="0" indent="0">
              <a:buNone/>
              <a:defRPr sz="1067">
                <a:solidFill>
                  <a:schemeClr val="accent5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5" name="Bildplatzhalter 2"/>
          <p:cNvSpPr>
            <a:spLocks noGrp="1"/>
          </p:cNvSpPr>
          <p:nvPr>
            <p:ph type="pic" sz="quarter" idx="23"/>
          </p:nvPr>
        </p:nvSpPr>
        <p:spPr>
          <a:xfrm>
            <a:off x="2519691" y="3994763"/>
            <a:ext cx="1601997" cy="6696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vert="horz" lIns="0" tIns="0" rIns="0" bIns="0"/>
          <a:lstStyle>
            <a:lvl1pPr marL="0" indent="0">
              <a:buNone/>
              <a:defRPr sz="1067">
                <a:solidFill>
                  <a:schemeClr val="accent5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6" name="Bildplatzhalter 2"/>
          <p:cNvSpPr>
            <a:spLocks noGrp="1"/>
          </p:cNvSpPr>
          <p:nvPr>
            <p:ph type="pic" sz="quarter" idx="24"/>
          </p:nvPr>
        </p:nvSpPr>
        <p:spPr>
          <a:xfrm>
            <a:off x="2519691" y="4753633"/>
            <a:ext cx="1601997" cy="6696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vert="horz" lIns="0" tIns="0" rIns="0" bIns="0"/>
          <a:lstStyle>
            <a:lvl1pPr marL="0" indent="0">
              <a:buNone/>
              <a:defRPr sz="1067">
                <a:solidFill>
                  <a:schemeClr val="accent5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7" name="Espace réservé du texte 5"/>
          <p:cNvSpPr>
            <a:spLocks noGrp="1"/>
          </p:cNvSpPr>
          <p:nvPr>
            <p:ph type="body" sz="quarter" idx="25" hasCustomPrompt="1"/>
          </p:nvPr>
        </p:nvSpPr>
        <p:spPr>
          <a:xfrm>
            <a:off x="4120102" y="5510539"/>
            <a:ext cx="5547447" cy="66960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txBody>
          <a:bodyPr lIns="189025" tIns="0" rIns="189025" bIns="0" anchor="ctr"/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bg1"/>
                </a:solidFill>
                <a:cs typeface="Arial"/>
              </a:defRPr>
            </a:lvl1pPr>
          </a:lstStyle>
          <a:p>
            <a:pPr lvl="0"/>
            <a:r>
              <a:rPr lang="en-US" noProof="0"/>
              <a:t>Sixth item</a:t>
            </a:r>
          </a:p>
        </p:txBody>
      </p:sp>
      <p:sp>
        <p:nvSpPr>
          <p:cNvPr id="18" name="Bildplatzhalter 2"/>
          <p:cNvSpPr>
            <a:spLocks noGrp="1"/>
          </p:cNvSpPr>
          <p:nvPr>
            <p:ph type="pic" sz="quarter" idx="26"/>
          </p:nvPr>
        </p:nvSpPr>
        <p:spPr>
          <a:xfrm>
            <a:off x="2519691" y="5512505"/>
            <a:ext cx="1601997" cy="6696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vert="horz" lIns="0" tIns="0" rIns="0" bIns="0"/>
          <a:lstStyle>
            <a:lvl1pPr marL="0" indent="0">
              <a:buNone/>
              <a:defRPr sz="1067">
                <a:solidFill>
                  <a:schemeClr val="accent5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9" name="Fußzeilenplatzhalter 2"/>
          <p:cNvSpPr>
            <a:spLocks noGrp="1"/>
          </p:cNvSpPr>
          <p:nvPr>
            <p:ph type="ftr" sz="quarter" idx="3"/>
          </p:nvPr>
        </p:nvSpPr>
        <p:spPr>
          <a:xfrm>
            <a:off x="4122537" y="6192000"/>
            <a:ext cx="7380962" cy="66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6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Ringvorlesung – Digitale Transformation bei Schmitz Cargobull</a:t>
            </a:r>
          </a:p>
        </p:txBody>
      </p:sp>
      <p:sp>
        <p:nvSpPr>
          <p:cNvPr id="20" name="Datumsplatzhalter 4"/>
          <p:cNvSpPr>
            <a:spLocks noGrp="1"/>
          </p:cNvSpPr>
          <p:nvPr>
            <p:ph type="dt" sz="half" idx="2"/>
          </p:nvPr>
        </p:nvSpPr>
        <p:spPr>
          <a:xfrm>
            <a:off x="2520328" y="6191559"/>
            <a:ext cx="1602209" cy="66644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6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17.01.2019</a:t>
            </a:r>
          </a:p>
        </p:txBody>
      </p:sp>
    </p:spTree>
    <p:extLst>
      <p:ext uri="{BB962C8B-B14F-4D97-AF65-F5344CB8AC3E}">
        <p14:creationId xmlns:p14="http://schemas.microsoft.com/office/powerpoint/2010/main" val="119518005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517558" y="651516"/>
            <a:ext cx="9002844" cy="66198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3"/>
          <p:cNvSpPr>
            <a:spLocks noGrp="1"/>
          </p:cNvSpPr>
          <p:nvPr>
            <p:ph type="body" idx="10"/>
          </p:nvPr>
        </p:nvSpPr>
        <p:spPr>
          <a:xfrm>
            <a:off x="660487" y="1634177"/>
            <a:ext cx="3467163" cy="344487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2266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Textplatzhalter 3"/>
          <p:cNvSpPr>
            <a:spLocks noGrp="1"/>
          </p:cNvSpPr>
          <p:nvPr>
            <p:ph type="body" idx="11"/>
          </p:nvPr>
        </p:nvSpPr>
        <p:spPr>
          <a:xfrm>
            <a:off x="660487" y="2258108"/>
            <a:ext cx="3467163" cy="3915619"/>
          </a:xfrm>
          <a:prstGeom prst="rect">
            <a:avLst/>
          </a:prstGeom>
        </p:spPr>
        <p:txBody>
          <a:bodyPr vert="horz" lIns="0" tIns="0" rIns="0" bIns="0"/>
          <a:lstStyle>
            <a:lvl1pPr marL="285759" indent="-285759">
              <a:buClr>
                <a:schemeClr val="accent5"/>
              </a:buClr>
              <a:buSzPct val="100000"/>
              <a:buFont typeface="Arial"/>
              <a:buChar char="•"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2"/>
          </p:nvPr>
        </p:nvSpPr>
        <p:spPr>
          <a:xfrm>
            <a:off x="4370958" y="1709739"/>
            <a:ext cx="7819455" cy="4470400"/>
          </a:xfrm>
          <a:prstGeom prst="rect">
            <a:avLst/>
          </a:prstGeom>
          <a:solidFill>
            <a:srgbClr val="E2E2E2"/>
          </a:solidFill>
        </p:spPr>
        <p:txBody>
          <a:bodyPr vert="horz" lIns="68589" tIns="34295" rIns="68589" bIns="34295"/>
          <a:lstStyle>
            <a:lvl1pPr marL="0" indent="0">
              <a:buNone/>
              <a:defRPr>
                <a:solidFill>
                  <a:srgbClr val="6F6F6F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3" name="Fußzeilenplatzhalter 2"/>
          <p:cNvSpPr>
            <a:spLocks noGrp="1"/>
          </p:cNvSpPr>
          <p:nvPr>
            <p:ph type="ftr" sz="quarter" idx="3"/>
          </p:nvPr>
        </p:nvSpPr>
        <p:spPr>
          <a:xfrm>
            <a:off x="4122537" y="6192000"/>
            <a:ext cx="7380962" cy="66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6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Ringvorlesung – Digitale Transformation bei Schmitz Cargobull</a:t>
            </a:r>
          </a:p>
        </p:txBody>
      </p:sp>
      <p:sp>
        <p:nvSpPr>
          <p:cNvPr id="14" name="Datumsplatzhalter 4"/>
          <p:cNvSpPr>
            <a:spLocks noGrp="1"/>
          </p:cNvSpPr>
          <p:nvPr>
            <p:ph type="dt" sz="half" idx="2"/>
          </p:nvPr>
        </p:nvSpPr>
        <p:spPr>
          <a:xfrm>
            <a:off x="2520328" y="6191559"/>
            <a:ext cx="1602209" cy="66644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6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17.01.2019</a:t>
            </a:r>
          </a:p>
        </p:txBody>
      </p:sp>
    </p:spTree>
    <p:extLst>
      <p:ext uri="{BB962C8B-B14F-4D97-AF65-F5344CB8AC3E}">
        <p14:creationId xmlns:p14="http://schemas.microsoft.com/office/powerpoint/2010/main" val="173842313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517558" y="651516"/>
            <a:ext cx="9002844" cy="66198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3"/>
          <p:cNvSpPr>
            <a:spLocks noGrp="1"/>
          </p:cNvSpPr>
          <p:nvPr>
            <p:ph type="body" idx="10"/>
          </p:nvPr>
        </p:nvSpPr>
        <p:spPr>
          <a:xfrm>
            <a:off x="660486" y="1634177"/>
            <a:ext cx="10859914" cy="344487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2266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idx="11" hasCustomPrompt="1"/>
          </p:nvPr>
        </p:nvSpPr>
        <p:spPr>
          <a:xfrm>
            <a:off x="8997535" y="2258108"/>
            <a:ext cx="2522866" cy="3915619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Clr>
                <a:schemeClr val="accent5"/>
              </a:buClr>
              <a:buSzPct val="100000"/>
              <a:buFontTx/>
              <a:buNone/>
              <a:defRPr sz="1600">
                <a:solidFill>
                  <a:schemeClr val="accent5"/>
                </a:solidFill>
              </a:defRPr>
            </a:lvl1pPr>
          </a:lstStyle>
          <a:p>
            <a:pPr lvl="0"/>
            <a:r>
              <a:rPr lang="de-DE"/>
              <a:t>Anmerkung</a:t>
            </a:r>
          </a:p>
          <a:p>
            <a:pPr lvl="0"/>
            <a:endParaRPr lang="de-DE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2"/>
          </p:nvPr>
        </p:nvSpPr>
        <p:spPr>
          <a:xfrm>
            <a:off x="660486" y="2257425"/>
            <a:ext cx="8243374" cy="3916363"/>
          </a:xfrm>
          <a:prstGeom prst="rect">
            <a:avLst/>
          </a:prstGeom>
        </p:spPr>
        <p:txBody>
          <a:bodyPr vert="horz" lIns="0" tIns="0" rIns="0" bIns="0"/>
          <a:lstStyle>
            <a:lvl1pPr marL="285759" indent="-285759">
              <a:buClr>
                <a:schemeClr val="accent5"/>
              </a:buClr>
              <a:buSzPct val="100000"/>
              <a:buFont typeface="Arial"/>
              <a:buChar char="•"/>
              <a:defRPr sz="1600"/>
            </a:lvl1pPr>
            <a:lvl2pPr marL="0" indent="0">
              <a:buFontTx/>
              <a:buNone/>
              <a:defRPr sz="1600"/>
            </a:lvl2pPr>
            <a:lvl3pPr marL="0" indent="0">
              <a:buFontTx/>
              <a:buNone/>
              <a:defRPr sz="1600"/>
            </a:lvl3pPr>
            <a:lvl4pPr marL="0" indent="0">
              <a:buFontTx/>
              <a:buNone/>
              <a:defRPr sz="1600"/>
            </a:lvl4pPr>
            <a:lvl5pPr marL="0" indent="0">
              <a:buFontTx/>
              <a:buNone/>
              <a:defRPr sz="16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0" name="Fußzeilenplatzhalter 2"/>
          <p:cNvSpPr>
            <a:spLocks noGrp="1"/>
          </p:cNvSpPr>
          <p:nvPr>
            <p:ph type="ftr" sz="quarter" idx="3"/>
          </p:nvPr>
        </p:nvSpPr>
        <p:spPr>
          <a:xfrm>
            <a:off x="4122537" y="6192000"/>
            <a:ext cx="7380962" cy="66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6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Ringvorlesung – Digitale Transformation bei Schmitz Cargobull</a:t>
            </a:r>
          </a:p>
        </p:txBody>
      </p:sp>
      <p:sp>
        <p:nvSpPr>
          <p:cNvPr id="11" name="Datumsplatzhalter 4"/>
          <p:cNvSpPr>
            <a:spLocks noGrp="1"/>
          </p:cNvSpPr>
          <p:nvPr>
            <p:ph type="dt" sz="half" idx="2"/>
          </p:nvPr>
        </p:nvSpPr>
        <p:spPr>
          <a:xfrm>
            <a:off x="2520328" y="6191559"/>
            <a:ext cx="1602209" cy="66644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6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17.01.2019</a:t>
            </a:r>
          </a:p>
        </p:txBody>
      </p:sp>
    </p:spTree>
    <p:extLst>
      <p:ext uri="{BB962C8B-B14F-4D97-AF65-F5344CB8AC3E}">
        <p14:creationId xmlns:p14="http://schemas.microsoft.com/office/powerpoint/2010/main" val="172078064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>
          <a:xfrm>
            <a:off x="657311" y="1692277"/>
            <a:ext cx="8103656" cy="4487863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1" rIns="91440" bIns="45721" rtlCol="0" anchor="ctr"/>
          <a:lstStyle/>
          <a:p>
            <a:pPr algn="ctr"/>
            <a:endParaRPr lang="de-DE" sz="240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517558" y="651516"/>
            <a:ext cx="9002844" cy="66198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idx="11" hasCustomPrompt="1"/>
          </p:nvPr>
        </p:nvSpPr>
        <p:spPr>
          <a:xfrm>
            <a:off x="8997535" y="3559958"/>
            <a:ext cx="2522866" cy="2039625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Clr>
                <a:schemeClr val="accent5"/>
              </a:buClr>
              <a:buSzPct val="100000"/>
              <a:buFontTx/>
              <a:buNone/>
              <a:defRPr sz="1600">
                <a:solidFill>
                  <a:schemeClr val="accent5"/>
                </a:solidFill>
              </a:defRPr>
            </a:lvl1pPr>
          </a:lstStyle>
          <a:p>
            <a:pPr lvl="0"/>
            <a:r>
              <a:rPr lang="de-DE"/>
              <a:t>Bildbeschreibung</a:t>
            </a:r>
          </a:p>
        </p:txBody>
      </p:sp>
      <p:sp>
        <p:nvSpPr>
          <p:cNvPr id="7" name="Bildplatzhalter 3"/>
          <p:cNvSpPr>
            <a:spLocks noGrp="1"/>
          </p:cNvSpPr>
          <p:nvPr>
            <p:ph type="pic" sz="quarter" idx="36"/>
          </p:nvPr>
        </p:nvSpPr>
        <p:spPr>
          <a:xfrm>
            <a:off x="8997535" y="1692276"/>
            <a:ext cx="3192878" cy="164781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vert="horz" lIns="68589" tIns="34295" rIns="68589" bIns="34295"/>
          <a:lstStyle>
            <a:lvl1pPr marL="0" indent="0">
              <a:buFontTx/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37"/>
          </p:nvPr>
        </p:nvSpPr>
        <p:spPr>
          <a:xfrm>
            <a:off x="657311" y="1692277"/>
            <a:ext cx="8103656" cy="4487863"/>
          </a:xfrm>
          <a:prstGeom prst="rect">
            <a:avLst/>
          </a:prstGeom>
        </p:spPr>
        <p:txBody>
          <a:bodyPr vert="horz" lIns="68589" tIns="81011" rIns="68589" bIns="81011" numCol="1" spcCol="191726"/>
          <a:lstStyle>
            <a:lvl1pPr marL="457216" indent="-285759">
              <a:buClr>
                <a:schemeClr val="accent1"/>
              </a:buClr>
              <a:buSzPct val="100000"/>
              <a:buFont typeface="Arial"/>
              <a:buChar char="•"/>
              <a:defRPr sz="1600" b="1">
                <a:solidFill>
                  <a:srgbClr val="FFFFFF"/>
                </a:solidFill>
              </a:defRPr>
            </a:lvl1pPr>
            <a:lvl2pPr marL="171456" indent="0">
              <a:buFontTx/>
              <a:buNone/>
              <a:defRPr sz="1600">
                <a:solidFill>
                  <a:srgbClr val="FFFFFF"/>
                </a:solidFill>
              </a:defRPr>
            </a:lvl2pPr>
            <a:lvl3pPr marL="171456" indent="0">
              <a:buFontTx/>
              <a:buNone/>
              <a:defRPr sz="1600">
                <a:solidFill>
                  <a:srgbClr val="FFFFFF"/>
                </a:solidFill>
              </a:defRPr>
            </a:lvl3pPr>
            <a:lvl4pPr marL="171456" indent="0">
              <a:buFontTx/>
              <a:buNone/>
              <a:defRPr sz="1600">
                <a:solidFill>
                  <a:srgbClr val="FFFFFF"/>
                </a:solidFill>
              </a:defRPr>
            </a:lvl4pPr>
            <a:lvl5pPr marL="171456" indent="0">
              <a:buFontTx/>
              <a:buNone/>
              <a:defRPr sz="1600">
                <a:solidFill>
                  <a:srgbClr val="FFFFFF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1" name="Fußzeilenplatzhalter 2"/>
          <p:cNvSpPr>
            <a:spLocks noGrp="1"/>
          </p:cNvSpPr>
          <p:nvPr>
            <p:ph type="ftr" sz="quarter" idx="3"/>
          </p:nvPr>
        </p:nvSpPr>
        <p:spPr>
          <a:xfrm>
            <a:off x="4122537" y="6192000"/>
            <a:ext cx="7380962" cy="66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6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Ringvorlesung – Digitale Transformation bei Schmitz Cargobull</a:t>
            </a:r>
          </a:p>
        </p:txBody>
      </p:sp>
      <p:sp>
        <p:nvSpPr>
          <p:cNvPr id="13" name="Datumsplatzhalter 4"/>
          <p:cNvSpPr>
            <a:spLocks noGrp="1"/>
          </p:cNvSpPr>
          <p:nvPr>
            <p:ph type="dt" sz="half" idx="2"/>
          </p:nvPr>
        </p:nvSpPr>
        <p:spPr>
          <a:xfrm>
            <a:off x="2520328" y="6191559"/>
            <a:ext cx="1602209" cy="66644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6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17.01.2019</a:t>
            </a:r>
          </a:p>
        </p:txBody>
      </p:sp>
    </p:spTree>
    <p:extLst>
      <p:ext uri="{BB962C8B-B14F-4D97-AF65-F5344CB8AC3E}">
        <p14:creationId xmlns:p14="http://schemas.microsoft.com/office/powerpoint/2010/main" val="282756374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5" name="Gerade Verbindung 74"/>
          <p:cNvCxnSpPr/>
          <p:nvPr userDrawn="1"/>
        </p:nvCxnSpPr>
        <p:spPr>
          <a:xfrm>
            <a:off x="1339700" y="3746091"/>
            <a:ext cx="10444856" cy="0"/>
          </a:xfrm>
          <a:prstGeom prst="line">
            <a:avLst/>
          </a:prstGeom>
          <a:ln w="9525" cmpd="sng">
            <a:solidFill>
              <a:schemeClr val="accent5"/>
            </a:solidFill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517558" y="651516"/>
            <a:ext cx="9002844" cy="66198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86" name="Inhaltsplatzhalter 15"/>
          <p:cNvSpPr>
            <a:spLocks noGrp="1"/>
          </p:cNvSpPr>
          <p:nvPr>
            <p:ph sz="quarter" idx="10"/>
          </p:nvPr>
        </p:nvSpPr>
        <p:spPr>
          <a:xfrm>
            <a:off x="669688" y="3565729"/>
            <a:ext cx="670013" cy="360363"/>
          </a:xfrm>
          <a:prstGeom prst="rect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txBody>
          <a:bodyPr vert="horz" lIns="0" tIns="0" rIns="0" bIns="27004" anchor="ctr" anchorCtr="0"/>
          <a:lstStyle>
            <a:lvl1pPr marL="0" indent="0" algn="ctr">
              <a:buNone/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87" name="Inhaltsplatzhalter 15"/>
          <p:cNvSpPr>
            <a:spLocks noGrp="1"/>
          </p:cNvSpPr>
          <p:nvPr>
            <p:ph sz="quarter" idx="11"/>
          </p:nvPr>
        </p:nvSpPr>
        <p:spPr>
          <a:xfrm>
            <a:off x="1601207" y="3565729"/>
            <a:ext cx="670013" cy="360363"/>
          </a:xfrm>
          <a:prstGeom prst="rect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txBody>
          <a:bodyPr vert="horz" lIns="0" tIns="0" rIns="0" bIns="27004" anchor="ctr" anchorCtr="0"/>
          <a:lstStyle>
            <a:lvl1pPr marL="0" indent="0" algn="ctr">
              <a:buNone/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88" name="Inhaltsplatzhalter 15"/>
          <p:cNvSpPr>
            <a:spLocks noGrp="1"/>
          </p:cNvSpPr>
          <p:nvPr>
            <p:ph sz="quarter" idx="12"/>
          </p:nvPr>
        </p:nvSpPr>
        <p:spPr>
          <a:xfrm>
            <a:off x="2519221" y="3565729"/>
            <a:ext cx="670013" cy="360363"/>
          </a:xfrm>
          <a:prstGeom prst="rect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txBody>
          <a:bodyPr vert="horz" lIns="0" tIns="0" rIns="0" bIns="27004" anchor="ctr" anchorCtr="0"/>
          <a:lstStyle>
            <a:lvl1pPr marL="0" indent="0" algn="ctr">
              <a:buNone/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89" name="Inhaltsplatzhalter 15"/>
          <p:cNvSpPr>
            <a:spLocks noGrp="1"/>
          </p:cNvSpPr>
          <p:nvPr>
            <p:ph sz="quarter" idx="13"/>
          </p:nvPr>
        </p:nvSpPr>
        <p:spPr>
          <a:xfrm>
            <a:off x="3452399" y="3565729"/>
            <a:ext cx="670013" cy="360363"/>
          </a:xfrm>
          <a:prstGeom prst="rect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txBody>
          <a:bodyPr vert="horz" lIns="0" tIns="0" rIns="0" bIns="27004" anchor="ctr" anchorCtr="0"/>
          <a:lstStyle>
            <a:lvl1pPr marL="0" indent="0" algn="ctr">
              <a:buNone/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90" name="Inhaltsplatzhalter 15"/>
          <p:cNvSpPr>
            <a:spLocks noGrp="1"/>
          </p:cNvSpPr>
          <p:nvPr>
            <p:ph sz="quarter" idx="14"/>
          </p:nvPr>
        </p:nvSpPr>
        <p:spPr>
          <a:xfrm>
            <a:off x="4372871" y="3565729"/>
            <a:ext cx="670013" cy="360363"/>
          </a:xfrm>
          <a:prstGeom prst="rect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txBody>
          <a:bodyPr vert="horz" lIns="0" tIns="0" rIns="0" bIns="27004" anchor="ctr" anchorCtr="0"/>
          <a:lstStyle>
            <a:lvl1pPr marL="0" indent="0" algn="ctr">
              <a:buNone/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91" name="Inhaltsplatzhalter 15"/>
          <p:cNvSpPr>
            <a:spLocks noGrp="1"/>
          </p:cNvSpPr>
          <p:nvPr>
            <p:ph sz="quarter" idx="15"/>
          </p:nvPr>
        </p:nvSpPr>
        <p:spPr>
          <a:xfrm>
            <a:off x="5295800" y="3565729"/>
            <a:ext cx="670013" cy="360363"/>
          </a:xfrm>
          <a:prstGeom prst="rect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txBody>
          <a:bodyPr vert="horz" lIns="0" tIns="0" rIns="0" bIns="27004" anchor="ctr" anchorCtr="0"/>
          <a:lstStyle>
            <a:lvl1pPr marL="0" indent="0" algn="ctr">
              <a:buNone/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92" name="Inhaltsplatzhalter 15"/>
          <p:cNvSpPr>
            <a:spLocks noGrp="1"/>
          </p:cNvSpPr>
          <p:nvPr>
            <p:ph sz="quarter" idx="16"/>
          </p:nvPr>
        </p:nvSpPr>
        <p:spPr>
          <a:xfrm>
            <a:off x="6222224" y="3565729"/>
            <a:ext cx="670013" cy="360363"/>
          </a:xfrm>
          <a:prstGeom prst="rect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txBody>
          <a:bodyPr vert="horz" lIns="0" tIns="0" rIns="0" bIns="27004" anchor="ctr" anchorCtr="0"/>
          <a:lstStyle>
            <a:lvl1pPr marL="0" indent="0" algn="ctr">
              <a:buNone/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93" name="Inhaltsplatzhalter 15"/>
          <p:cNvSpPr>
            <a:spLocks noGrp="1"/>
          </p:cNvSpPr>
          <p:nvPr>
            <p:ph sz="quarter" idx="17"/>
          </p:nvPr>
        </p:nvSpPr>
        <p:spPr>
          <a:xfrm>
            <a:off x="7146270" y="3565729"/>
            <a:ext cx="670013" cy="360363"/>
          </a:xfrm>
          <a:prstGeom prst="rect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txBody>
          <a:bodyPr vert="horz" lIns="0" tIns="0" rIns="0" bIns="27004" anchor="ctr" anchorCtr="0"/>
          <a:lstStyle>
            <a:lvl1pPr marL="0" indent="0" algn="ctr">
              <a:buNone/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94" name="Inhaltsplatzhalter 15"/>
          <p:cNvSpPr>
            <a:spLocks noGrp="1"/>
          </p:cNvSpPr>
          <p:nvPr>
            <p:ph sz="quarter" idx="18"/>
          </p:nvPr>
        </p:nvSpPr>
        <p:spPr>
          <a:xfrm>
            <a:off x="8073166" y="3565729"/>
            <a:ext cx="670013" cy="360363"/>
          </a:xfrm>
          <a:prstGeom prst="rect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txBody>
          <a:bodyPr vert="horz" lIns="0" tIns="0" rIns="0" bIns="27004" anchor="ctr" anchorCtr="0"/>
          <a:lstStyle>
            <a:lvl1pPr marL="0" indent="0" algn="ctr">
              <a:buNone/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95" name="Inhaltsplatzhalter 15"/>
          <p:cNvSpPr>
            <a:spLocks noGrp="1"/>
          </p:cNvSpPr>
          <p:nvPr>
            <p:ph sz="quarter" idx="19"/>
          </p:nvPr>
        </p:nvSpPr>
        <p:spPr>
          <a:xfrm>
            <a:off x="9002598" y="3565729"/>
            <a:ext cx="670013" cy="360363"/>
          </a:xfrm>
          <a:prstGeom prst="rect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txBody>
          <a:bodyPr vert="horz" lIns="0" tIns="0" rIns="0" bIns="27004" anchor="ctr" anchorCtr="0"/>
          <a:lstStyle>
            <a:lvl1pPr marL="0" indent="0" algn="ctr">
              <a:buNone/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96" name="Inhaltsplatzhalter 15"/>
          <p:cNvSpPr>
            <a:spLocks noGrp="1"/>
          </p:cNvSpPr>
          <p:nvPr>
            <p:ph sz="quarter" idx="20"/>
          </p:nvPr>
        </p:nvSpPr>
        <p:spPr>
          <a:xfrm>
            <a:off x="9925464" y="3565729"/>
            <a:ext cx="670013" cy="360363"/>
          </a:xfrm>
          <a:prstGeom prst="rect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txBody>
          <a:bodyPr vert="horz" lIns="0" tIns="0" rIns="0" bIns="27004" anchor="ctr" anchorCtr="0"/>
          <a:lstStyle>
            <a:lvl1pPr marL="0" indent="0" algn="ctr">
              <a:buNone/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97" name="Inhaltsplatzhalter 15"/>
          <p:cNvSpPr>
            <a:spLocks noGrp="1"/>
          </p:cNvSpPr>
          <p:nvPr>
            <p:ph sz="quarter" idx="21"/>
          </p:nvPr>
        </p:nvSpPr>
        <p:spPr>
          <a:xfrm>
            <a:off x="10852524" y="3565729"/>
            <a:ext cx="670013" cy="360363"/>
          </a:xfrm>
          <a:prstGeom prst="rect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txBody>
          <a:bodyPr vert="horz" lIns="0" tIns="0" rIns="0" bIns="27004" anchor="ctr" anchorCtr="0"/>
          <a:lstStyle>
            <a:lvl1pPr marL="0" indent="0" algn="ctr">
              <a:buNone/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8" name="Fußzeilenplatzhalter 2"/>
          <p:cNvSpPr>
            <a:spLocks noGrp="1"/>
          </p:cNvSpPr>
          <p:nvPr>
            <p:ph type="ftr" sz="quarter" idx="3"/>
          </p:nvPr>
        </p:nvSpPr>
        <p:spPr>
          <a:xfrm>
            <a:off x="4122537" y="6192000"/>
            <a:ext cx="7380962" cy="66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6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Ringvorlesung – Digitale Transformation bei Schmitz Cargobull</a:t>
            </a:r>
          </a:p>
        </p:txBody>
      </p:sp>
      <p:sp>
        <p:nvSpPr>
          <p:cNvPr id="19" name="Datumsplatzhalter 4"/>
          <p:cNvSpPr>
            <a:spLocks noGrp="1"/>
          </p:cNvSpPr>
          <p:nvPr>
            <p:ph type="dt" sz="half" idx="2"/>
          </p:nvPr>
        </p:nvSpPr>
        <p:spPr>
          <a:xfrm>
            <a:off x="2520328" y="6191559"/>
            <a:ext cx="1602209" cy="66644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6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17.01.2019</a:t>
            </a:r>
          </a:p>
        </p:txBody>
      </p:sp>
    </p:spTree>
    <p:extLst>
      <p:ext uri="{BB962C8B-B14F-4D97-AF65-F5344CB8AC3E}">
        <p14:creationId xmlns:p14="http://schemas.microsoft.com/office/powerpoint/2010/main" val="332349672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5" name="Gerade Verbindung 74"/>
          <p:cNvCxnSpPr/>
          <p:nvPr userDrawn="1"/>
        </p:nvCxnSpPr>
        <p:spPr>
          <a:xfrm>
            <a:off x="1339700" y="3746091"/>
            <a:ext cx="10444856" cy="0"/>
          </a:xfrm>
          <a:prstGeom prst="line">
            <a:avLst/>
          </a:prstGeom>
          <a:ln w="9525" cmpd="sng">
            <a:solidFill>
              <a:schemeClr val="accent5"/>
            </a:solidFill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6" name="Inhaltsplatzhalter 15"/>
          <p:cNvSpPr>
            <a:spLocks noGrp="1"/>
          </p:cNvSpPr>
          <p:nvPr>
            <p:ph sz="quarter" idx="10"/>
          </p:nvPr>
        </p:nvSpPr>
        <p:spPr>
          <a:xfrm>
            <a:off x="669688" y="3565729"/>
            <a:ext cx="670013" cy="360363"/>
          </a:xfrm>
          <a:prstGeom prst="rect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txBody>
          <a:bodyPr vert="horz" lIns="0" tIns="0" rIns="0" bIns="27004" anchor="ctr" anchorCtr="0"/>
          <a:lstStyle>
            <a:lvl1pPr marL="0" indent="0" algn="ctr">
              <a:buNone/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87" name="Inhaltsplatzhalter 15"/>
          <p:cNvSpPr>
            <a:spLocks noGrp="1"/>
          </p:cNvSpPr>
          <p:nvPr>
            <p:ph sz="quarter" idx="11"/>
          </p:nvPr>
        </p:nvSpPr>
        <p:spPr>
          <a:xfrm>
            <a:off x="1601207" y="3565729"/>
            <a:ext cx="670013" cy="360363"/>
          </a:xfrm>
          <a:prstGeom prst="rect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txBody>
          <a:bodyPr vert="horz" lIns="0" tIns="0" rIns="0" bIns="27004" anchor="ctr" anchorCtr="0"/>
          <a:lstStyle>
            <a:lvl1pPr marL="0" indent="0" algn="ctr">
              <a:buNone/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88" name="Inhaltsplatzhalter 15"/>
          <p:cNvSpPr>
            <a:spLocks noGrp="1"/>
          </p:cNvSpPr>
          <p:nvPr>
            <p:ph sz="quarter" idx="12"/>
          </p:nvPr>
        </p:nvSpPr>
        <p:spPr>
          <a:xfrm>
            <a:off x="2519221" y="3565729"/>
            <a:ext cx="670013" cy="360363"/>
          </a:xfrm>
          <a:prstGeom prst="rect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txBody>
          <a:bodyPr vert="horz" lIns="0" tIns="0" rIns="0" bIns="27004" anchor="ctr" anchorCtr="0"/>
          <a:lstStyle>
            <a:lvl1pPr marL="0" indent="0" algn="ctr">
              <a:buNone/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89" name="Inhaltsplatzhalter 15"/>
          <p:cNvSpPr>
            <a:spLocks noGrp="1"/>
          </p:cNvSpPr>
          <p:nvPr>
            <p:ph sz="quarter" idx="13"/>
          </p:nvPr>
        </p:nvSpPr>
        <p:spPr>
          <a:xfrm>
            <a:off x="3452399" y="3565729"/>
            <a:ext cx="670013" cy="360363"/>
          </a:xfrm>
          <a:prstGeom prst="rect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txBody>
          <a:bodyPr vert="horz" lIns="0" tIns="0" rIns="0" bIns="27004" anchor="ctr" anchorCtr="0"/>
          <a:lstStyle>
            <a:lvl1pPr marL="0" indent="0" algn="ctr">
              <a:buNone/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90" name="Inhaltsplatzhalter 15"/>
          <p:cNvSpPr>
            <a:spLocks noGrp="1"/>
          </p:cNvSpPr>
          <p:nvPr>
            <p:ph sz="quarter" idx="14"/>
          </p:nvPr>
        </p:nvSpPr>
        <p:spPr>
          <a:xfrm>
            <a:off x="4372871" y="3565729"/>
            <a:ext cx="670013" cy="360363"/>
          </a:xfrm>
          <a:prstGeom prst="rect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txBody>
          <a:bodyPr vert="horz" lIns="0" tIns="0" rIns="0" bIns="27004" anchor="ctr" anchorCtr="0"/>
          <a:lstStyle>
            <a:lvl1pPr marL="0" indent="0" algn="ctr">
              <a:buNone/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91" name="Inhaltsplatzhalter 15"/>
          <p:cNvSpPr>
            <a:spLocks noGrp="1"/>
          </p:cNvSpPr>
          <p:nvPr>
            <p:ph sz="quarter" idx="15"/>
          </p:nvPr>
        </p:nvSpPr>
        <p:spPr>
          <a:xfrm>
            <a:off x="5295800" y="3565729"/>
            <a:ext cx="670013" cy="360363"/>
          </a:xfrm>
          <a:prstGeom prst="rect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txBody>
          <a:bodyPr vert="horz" lIns="0" tIns="0" rIns="0" bIns="27004" anchor="ctr" anchorCtr="0"/>
          <a:lstStyle>
            <a:lvl1pPr marL="0" indent="0" algn="ctr">
              <a:buNone/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92" name="Inhaltsplatzhalter 15"/>
          <p:cNvSpPr>
            <a:spLocks noGrp="1"/>
          </p:cNvSpPr>
          <p:nvPr>
            <p:ph sz="quarter" idx="16"/>
          </p:nvPr>
        </p:nvSpPr>
        <p:spPr>
          <a:xfrm>
            <a:off x="6222224" y="3565729"/>
            <a:ext cx="670013" cy="360363"/>
          </a:xfrm>
          <a:prstGeom prst="rect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txBody>
          <a:bodyPr vert="horz" lIns="0" tIns="0" rIns="0" bIns="27004" anchor="ctr" anchorCtr="0"/>
          <a:lstStyle>
            <a:lvl1pPr marL="0" indent="0" algn="ctr">
              <a:buNone/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93" name="Inhaltsplatzhalter 15"/>
          <p:cNvSpPr>
            <a:spLocks noGrp="1"/>
          </p:cNvSpPr>
          <p:nvPr>
            <p:ph sz="quarter" idx="17"/>
          </p:nvPr>
        </p:nvSpPr>
        <p:spPr>
          <a:xfrm>
            <a:off x="7146270" y="3565729"/>
            <a:ext cx="670013" cy="360363"/>
          </a:xfrm>
          <a:prstGeom prst="rect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txBody>
          <a:bodyPr vert="horz" lIns="0" tIns="0" rIns="0" bIns="27004" anchor="ctr" anchorCtr="0"/>
          <a:lstStyle>
            <a:lvl1pPr marL="0" indent="0" algn="ctr">
              <a:buNone/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94" name="Inhaltsplatzhalter 15"/>
          <p:cNvSpPr>
            <a:spLocks noGrp="1"/>
          </p:cNvSpPr>
          <p:nvPr>
            <p:ph sz="quarter" idx="18"/>
          </p:nvPr>
        </p:nvSpPr>
        <p:spPr>
          <a:xfrm>
            <a:off x="8073166" y="3565729"/>
            <a:ext cx="670013" cy="360363"/>
          </a:xfrm>
          <a:prstGeom prst="rect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txBody>
          <a:bodyPr vert="horz" lIns="0" tIns="0" rIns="0" bIns="27004" anchor="ctr" anchorCtr="0"/>
          <a:lstStyle>
            <a:lvl1pPr marL="0" indent="0" algn="ctr">
              <a:buNone/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95" name="Inhaltsplatzhalter 15"/>
          <p:cNvSpPr>
            <a:spLocks noGrp="1"/>
          </p:cNvSpPr>
          <p:nvPr>
            <p:ph sz="quarter" idx="19"/>
          </p:nvPr>
        </p:nvSpPr>
        <p:spPr>
          <a:xfrm>
            <a:off x="9002598" y="3565729"/>
            <a:ext cx="670013" cy="360363"/>
          </a:xfrm>
          <a:prstGeom prst="rect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txBody>
          <a:bodyPr vert="horz" lIns="0" tIns="0" rIns="0" bIns="27004" anchor="ctr" anchorCtr="0"/>
          <a:lstStyle>
            <a:lvl1pPr marL="0" indent="0" algn="ctr">
              <a:buNone/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96" name="Inhaltsplatzhalter 15"/>
          <p:cNvSpPr>
            <a:spLocks noGrp="1"/>
          </p:cNvSpPr>
          <p:nvPr>
            <p:ph sz="quarter" idx="20"/>
          </p:nvPr>
        </p:nvSpPr>
        <p:spPr>
          <a:xfrm>
            <a:off x="9925464" y="3565729"/>
            <a:ext cx="670013" cy="360363"/>
          </a:xfrm>
          <a:prstGeom prst="rect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txBody>
          <a:bodyPr vert="horz" lIns="0" tIns="0" rIns="0" bIns="27004" anchor="ctr" anchorCtr="0"/>
          <a:lstStyle>
            <a:lvl1pPr marL="0" indent="0" algn="ctr">
              <a:buNone/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97" name="Inhaltsplatzhalter 15"/>
          <p:cNvSpPr>
            <a:spLocks noGrp="1"/>
          </p:cNvSpPr>
          <p:nvPr>
            <p:ph sz="quarter" idx="21"/>
          </p:nvPr>
        </p:nvSpPr>
        <p:spPr>
          <a:xfrm>
            <a:off x="10852524" y="3565729"/>
            <a:ext cx="670013" cy="360363"/>
          </a:xfrm>
          <a:prstGeom prst="rect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txBody>
          <a:bodyPr vert="horz" lIns="0" tIns="0" rIns="0" bIns="27004" anchor="ctr" anchorCtr="0"/>
          <a:lstStyle>
            <a:lvl1pPr marL="0" indent="0" algn="ctr">
              <a:buNone/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2" name="Textplatzhalter 13"/>
          <p:cNvSpPr>
            <a:spLocks noGrp="1"/>
          </p:cNvSpPr>
          <p:nvPr>
            <p:ph type="body" sz="quarter" idx="4294967295"/>
          </p:nvPr>
        </p:nvSpPr>
        <p:spPr>
          <a:xfrm>
            <a:off x="674246" y="1350922"/>
            <a:ext cx="1597233" cy="2237697"/>
          </a:xfrm>
          <a:prstGeom prst="rect">
            <a:avLst/>
          </a:prstGeom>
        </p:spPr>
        <p:txBody>
          <a:bodyPr lIns="0" tIns="0" rIns="0" bIns="0"/>
          <a:lstStyle/>
          <a:p>
            <a:pPr lvl="0">
              <a:buClr>
                <a:schemeClr val="accent5"/>
              </a:buClr>
              <a:buFont typeface="Lucida Grande"/>
              <a:buChar char="⎯"/>
            </a:pPr>
            <a:r>
              <a:rPr lang="de-DE" sz="1067" b="1">
                <a:solidFill>
                  <a:srgbClr val="6F6F6F"/>
                </a:solidFill>
              </a:rPr>
              <a:t>Formatvorlagen des Textmasters bearbeiten</a:t>
            </a:r>
          </a:p>
          <a:p>
            <a:pPr lvl="1">
              <a:buClr>
                <a:schemeClr val="accent5"/>
              </a:buClr>
              <a:buFont typeface="Lucida Grande"/>
              <a:buChar char="⎯"/>
            </a:pPr>
            <a:r>
              <a:rPr lang="de-DE" sz="1067" b="1">
                <a:solidFill>
                  <a:srgbClr val="6F6F6F"/>
                </a:solidFill>
              </a:rPr>
              <a:t>Zweite Ebene</a:t>
            </a:r>
          </a:p>
          <a:p>
            <a:pPr lvl="2">
              <a:buClr>
                <a:schemeClr val="accent5"/>
              </a:buClr>
              <a:buFont typeface="Lucida Grande"/>
              <a:buChar char="⎯"/>
            </a:pPr>
            <a:r>
              <a:rPr lang="de-DE" sz="1067" b="1">
                <a:solidFill>
                  <a:srgbClr val="6F6F6F"/>
                </a:solidFill>
              </a:rPr>
              <a:t>Dritte Ebene</a:t>
            </a:r>
          </a:p>
        </p:txBody>
      </p:sp>
      <p:sp>
        <p:nvSpPr>
          <p:cNvPr id="54" name="Textplatzhalter 13"/>
          <p:cNvSpPr>
            <a:spLocks noGrp="1"/>
          </p:cNvSpPr>
          <p:nvPr>
            <p:ph type="body" sz="quarter" idx="4294967295"/>
          </p:nvPr>
        </p:nvSpPr>
        <p:spPr>
          <a:xfrm>
            <a:off x="2529464" y="1350922"/>
            <a:ext cx="1597233" cy="2237697"/>
          </a:xfrm>
          <a:prstGeom prst="rect">
            <a:avLst/>
          </a:prstGeom>
        </p:spPr>
        <p:txBody>
          <a:bodyPr lIns="0" tIns="0" rIns="0" bIns="0"/>
          <a:lstStyle/>
          <a:p>
            <a:pPr lvl="0">
              <a:buClr>
                <a:schemeClr val="accent5"/>
              </a:buClr>
              <a:buFont typeface="Lucida Grande"/>
              <a:buChar char="⎯"/>
            </a:pPr>
            <a:r>
              <a:rPr lang="de-DE" sz="1067" b="1">
                <a:solidFill>
                  <a:srgbClr val="6F6F6F"/>
                </a:solidFill>
              </a:rPr>
              <a:t>Formatvorlagen des Textmasters bearbeiten</a:t>
            </a:r>
          </a:p>
          <a:p>
            <a:pPr lvl="1">
              <a:buClr>
                <a:schemeClr val="accent5"/>
              </a:buClr>
              <a:buFont typeface="Lucida Grande"/>
              <a:buChar char="⎯"/>
            </a:pPr>
            <a:r>
              <a:rPr lang="de-DE" sz="1067" b="1">
                <a:solidFill>
                  <a:srgbClr val="6F6F6F"/>
                </a:solidFill>
              </a:rPr>
              <a:t>Zweite Ebene</a:t>
            </a:r>
          </a:p>
          <a:p>
            <a:pPr lvl="2">
              <a:buClr>
                <a:schemeClr val="accent5"/>
              </a:buClr>
              <a:buFont typeface="Lucida Grande"/>
              <a:buChar char="⎯"/>
            </a:pPr>
            <a:r>
              <a:rPr lang="de-DE" sz="1067" b="1">
                <a:solidFill>
                  <a:srgbClr val="6F6F6F"/>
                </a:solidFill>
              </a:rPr>
              <a:t>Dritte Ebene</a:t>
            </a:r>
          </a:p>
        </p:txBody>
      </p:sp>
      <p:sp>
        <p:nvSpPr>
          <p:cNvPr id="55" name="Textplatzhalter 13"/>
          <p:cNvSpPr>
            <a:spLocks noGrp="1"/>
          </p:cNvSpPr>
          <p:nvPr>
            <p:ph type="body" sz="quarter" idx="4294967295"/>
          </p:nvPr>
        </p:nvSpPr>
        <p:spPr>
          <a:xfrm>
            <a:off x="4385934" y="1350922"/>
            <a:ext cx="1597233" cy="2237697"/>
          </a:xfrm>
          <a:prstGeom prst="rect">
            <a:avLst/>
          </a:prstGeom>
        </p:spPr>
        <p:txBody>
          <a:bodyPr lIns="0" tIns="0" rIns="0" bIns="0"/>
          <a:lstStyle/>
          <a:p>
            <a:pPr lvl="0">
              <a:buClr>
                <a:schemeClr val="accent5"/>
              </a:buClr>
              <a:buFont typeface="Lucida Grande"/>
              <a:buChar char="⎯"/>
            </a:pPr>
            <a:r>
              <a:rPr lang="de-DE" sz="1067" b="1">
                <a:solidFill>
                  <a:srgbClr val="6F6F6F"/>
                </a:solidFill>
              </a:rPr>
              <a:t>Formatvorlagen des Textmasters bearbeiten</a:t>
            </a:r>
          </a:p>
          <a:p>
            <a:pPr lvl="1">
              <a:buClr>
                <a:schemeClr val="accent5"/>
              </a:buClr>
              <a:buFont typeface="Lucida Grande"/>
              <a:buChar char="⎯"/>
            </a:pPr>
            <a:r>
              <a:rPr lang="de-DE" sz="1067" b="1">
                <a:solidFill>
                  <a:srgbClr val="6F6F6F"/>
                </a:solidFill>
              </a:rPr>
              <a:t>Zweite Ebene</a:t>
            </a:r>
          </a:p>
          <a:p>
            <a:pPr lvl="2">
              <a:buClr>
                <a:schemeClr val="accent5"/>
              </a:buClr>
              <a:buFont typeface="Lucida Grande"/>
              <a:buChar char="⎯"/>
            </a:pPr>
            <a:r>
              <a:rPr lang="de-DE" sz="1067" b="1">
                <a:solidFill>
                  <a:srgbClr val="6F6F6F"/>
                </a:solidFill>
              </a:rPr>
              <a:t>Dritte Ebene</a:t>
            </a:r>
          </a:p>
        </p:txBody>
      </p:sp>
      <p:sp>
        <p:nvSpPr>
          <p:cNvPr id="56" name="Textplatzhalter 13"/>
          <p:cNvSpPr>
            <a:spLocks noGrp="1"/>
          </p:cNvSpPr>
          <p:nvPr>
            <p:ph type="body" sz="quarter" idx="4294967295"/>
          </p:nvPr>
        </p:nvSpPr>
        <p:spPr>
          <a:xfrm>
            <a:off x="6232632" y="1350922"/>
            <a:ext cx="1597233" cy="2237697"/>
          </a:xfrm>
          <a:prstGeom prst="rect">
            <a:avLst/>
          </a:prstGeom>
        </p:spPr>
        <p:txBody>
          <a:bodyPr lIns="0" tIns="0" rIns="0" bIns="0"/>
          <a:lstStyle/>
          <a:p>
            <a:pPr lvl="0">
              <a:buClr>
                <a:schemeClr val="accent5"/>
              </a:buClr>
              <a:buFont typeface="Lucida Grande"/>
              <a:buChar char="⎯"/>
            </a:pPr>
            <a:r>
              <a:rPr lang="de-DE" sz="1067" b="1">
                <a:solidFill>
                  <a:srgbClr val="6F6F6F"/>
                </a:solidFill>
              </a:rPr>
              <a:t>Formatvorlagen des Textmasters bearbeiten</a:t>
            </a:r>
          </a:p>
          <a:p>
            <a:pPr lvl="1">
              <a:buClr>
                <a:schemeClr val="accent5"/>
              </a:buClr>
              <a:buFont typeface="Lucida Grande"/>
              <a:buChar char="⎯"/>
            </a:pPr>
            <a:r>
              <a:rPr lang="de-DE" sz="1067" b="1">
                <a:solidFill>
                  <a:srgbClr val="6F6F6F"/>
                </a:solidFill>
              </a:rPr>
              <a:t>Zweite Ebene</a:t>
            </a:r>
          </a:p>
          <a:p>
            <a:pPr lvl="2">
              <a:buClr>
                <a:schemeClr val="accent5"/>
              </a:buClr>
              <a:buFont typeface="Lucida Grande"/>
              <a:buChar char="⎯"/>
            </a:pPr>
            <a:r>
              <a:rPr lang="de-DE" sz="1067" b="1">
                <a:solidFill>
                  <a:srgbClr val="6F6F6F"/>
                </a:solidFill>
              </a:rPr>
              <a:t>Dritte Ebene</a:t>
            </a:r>
          </a:p>
        </p:txBody>
      </p:sp>
      <p:sp>
        <p:nvSpPr>
          <p:cNvPr id="57" name="Textplatzhalter 13"/>
          <p:cNvSpPr>
            <a:spLocks noGrp="1"/>
          </p:cNvSpPr>
          <p:nvPr>
            <p:ph type="body" sz="quarter" idx="4294967295"/>
          </p:nvPr>
        </p:nvSpPr>
        <p:spPr>
          <a:xfrm>
            <a:off x="8079330" y="1350922"/>
            <a:ext cx="1597233" cy="2237697"/>
          </a:xfrm>
          <a:prstGeom prst="rect">
            <a:avLst/>
          </a:prstGeom>
        </p:spPr>
        <p:txBody>
          <a:bodyPr lIns="0" tIns="0" rIns="0" bIns="0"/>
          <a:lstStyle/>
          <a:p>
            <a:pPr lvl="0">
              <a:buClr>
                <a:schemeClr val="accent5"/>
              </a:buClr>
              <a:buFont typeface="Lucida Grande"/>
              <a:buChar char="⎯"/>
            </a:pPr>
            <a:r>
              <a:rPr lang="de-DE" sz="1067" b="1">
                <a:solidFill>
                  <a:srgbClr val="6F6F6F"/>
                </a:solidFill>
              </a:rPr>
              <a:t>Formatvorlagen des Textmasters bearbeiten</a:t>
            </a:r>
          </a:p>
          <a:p>
            <a:pPr lvl="1">
              <a:buClr>
                <a:schemeClr val="accent5"/>
              </a:buClr>
              <a:buFont typeface="Lucida Grande"/>
              <a:buChar char="⎯"/>
            </a:pPr>
            <a:r>
              <a:rPr lang="de-DE" sz="1067" b="1">
                <a:solidFill>
                  <a:srgbClr val="6F6F6F"/>
                </a:solidFill>
              </a:rPr>
              <a:t>Zweite Ebene</a:t>
            </a:r>
          </a:p>
          <a:p>
            <a:pPr lvl="2">
              <a:buClr>
                <a:schemeClr val="accent5"/>
              </a:buClr>
              <a:buFont typeface="Lucida Grande"/>
              <a:buChar char="⎯"/>
            </a:pPr>
            <a:r>
              <a:rPr lang="de-DE" sz="1067" b="1">
                <a:solidFill>
                  <a:srgbClr val="6F6F6F"/>
                </a:solidFill>
              </a:rPr>
              <a:t>Dritte Ebene</a:t>
            </a:r>
          </a:p>
        </p:txBody>
      </p:sp>
      <p:sp>
        <p:nvSpPr>
          <p:cNvPr id="58" name="Textplatzhalter 13"/>
          <p:cNvSpPr>
            <a:spLocks noGrp="1"/>
          </p:cNvSpPr>
          <p:nvPr>
            <p:ph type="body" sz="quarter" idx="4294967295"/>
          </p:nvPr>
        </p:nvSpPr>
        <p:spPr>
          <a:xfrm>
            <a:off x="9935074" y="1350922"/>
            <a:ext cx="1597233" cy="2237697"/>
          </a:xfrm>
          <a:prstGeom prst="rect">
            <a:avLst/>
          </a:prstGeom>
        </p:spPr>
        <p:txBody>
          <a:bodyPr lIns="0" tIns="0" rIns="0" bIns="0"/>
          <a:lstStyle/>
          <a:p>
            <a:pPr lvl="0">
              <a:buClr>
                <a:schemeClr val="accent5"/>
              </a:buClr>
              <a:buFont typeface="Lucida Grande"/>
              <a:buChar char="⎯"/>
            </a:pPr>
            <a:r>
              <a:rPr lang="de-DE" sz="1067" b="1">
                <a:solidFill>
                  <a:srgbClr val="6F6F6F"/>
                </a:solidFill>
              </a:rPr>
              <a:t>Formatvorlagen des Textmasters bearbeiten</a:t>
            </a:r>
          </a:p>
          <a:p>
            <a:pPr lvl="1">
              <a:buClr>
                <a:schemeClr val="accent5"/>
              </a:buClr>
              <a:buFont typeface="Lucida Grande"/>
              <a:buChar char="⎯"/>
            </a:pPr>
            <a:r>
              <a:rPr lang="de-DE" sz="1067" b="1">
                <a:solidFill>
                  <a:srgbClr val="6F6F6F"/>
                </a:solidFill>
              </a:rPr>
              <a:t>Zweite Ebene</a:t>
            </a:r>
          </a:p>
          <a:p>
            <a:pPr lvl="2">
              <a:buClr>
                <a:schemeClr val="accent5"/>
              </a:buClr>
              <a:buFont typeface="Lucida Grande"/>
              <a:buChar char="⎯"/>
            </a:pPr>
            <a:r>
              <a:rPr lang="de-DE" sz="1067" b="1">
                <a:solidFill>
                  <a:srgbClr val="6F6F6F"/>
                </a:solidFill>
              </a:rPr>
              <a:t>Dritte Ebene</a:t>
            </a:r>
          </a:p>
        </p:txBody>
      </p:sp>
      <p:sp>
        <p:nvSpPr>
          <p:cNvPr id="59" name="Textplatzhalter 13"/>
          <p:cNvSpPr txBox="1">
            <a:spLocks/>
          </p:cNvSpPr>
          <p:nvPr userDrawn="1"/>
        </p:nvSpPr>
        <p:spPr>
          <a:xfrm>
            <a:off x="1607005" y="3944273"/>
            <a:ext cx="1597233" cy="2237697"/>
          </a:xfrm>
          <a:prstGeom prst="rect">
            <a:avLst/>
          </a:prstGeom>
        </p:spPr>
        <p:txBody>
          <a:bodyPr lIns="0" tIns="0" rIns="0" bIns="0" anchor="b" anchorCtr="0"/>
          <a:lstStyle>
            <a:lvl1pPr marL="304747" indent="-304747" algn="l" defTabSz="1171998" rtl="0" eaLnBrk="1" latinLnBrk="0" hangingPunct="1">
              <a:lnSpc>
                <a:spcPct val="100000"/>
              </a:lnSpc>
              <a:spcBef>
                <a:spcPts val="1066"/>
              </a:spcBef>
              <a:buClr>
                <a:schemeClr val="tx1"/>
              </a:buClr>
              <a:buSzPct val="80000"/>
              <a:buFont typeface="Wingdings 3" panose="05040102010807070707" pitchFamily="18" charset="2"/>
              <a:buChar char="u"/>
              <a:defRPr sz="2700" b="0" i="0" kern="900" spc="0">
                <a:solidFill>
                  <a:schemeClr val="tx1"/>
                </a:solidFill>
                <a:latin typeface="+mn-lt"/>
                <a:ea typeface="+mn-ea"/>
                <a:cs typeface="3ds Light"/>
              </a:defRPr>
            </a:lvl1pPr>
            <a:lvl2pPr marL="533307" marR="0" indent="-234910" algn="l" defTabSz="1171998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 3" panose="05040102010807070707" pitchFamily="18" charset="2"/>
              <a:buChar char="w"/>
              <a:tabLst/>
              <a:defRPr sz="2400" b="0" i="0" kern="900" spc="0" baseline="0">
                <a:solidFill>
                  <a:schemeClr val="tx1"/>
                </a:solidFill>
                <a:latin typeface="+mn-lt"/>
                <a:ea typeface="+mn-ea"/>
                <a:cs typeface="3ds Light"/>
              </a:defRPr>
            </a:lvl2pPr>
            <a:lvl3pPr marL="838053" marR="0" indent="-211630" algn="l" defTabSz="1171998" rtl="0" eaLnBrk="1" fontAlgn="auto" latinLnBrk="0" hangingPunct="1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tx1"/>
              </a:buClr>
              <a:buSzPct val="60000"/>
              <a:buFont typeface="Wingdings 3" panose="05040102010807070707" pitchFamily="18" charset="2"/>
              <a:buChar char="u"/>
              <a:tabLst/>
              <a:defRPr sz="2100" b="0" i="0" kern="900" spc="0">
                <a:solidFill>
                  <a:schemeClr val="tx1"/>
                </a:solidFill>
                <a:latin typeface="+mn-lt"/>
                <a:ea typeface="+mn-ea"/>
                <a:cs typeface="3ds Light"/>
              </a:defRPr>
            </a:lvl3pPr>
            <a:lvl4pPr marL="1142800" indent="-239142" algn="l" defTabSz="1171998" rtl="0" eaLnBrk="1" latinLnBrk="0" hangingPunct="1">
              <a:lnSpc>
                <a:spcPct val="100000"/>
              </a:lnSpc>
              <a:spcBef>
                <a:spcPts val="533"/>
              </a:spcBef>
              <a:buClr>
                <a:schemeClr val="tx1"/>
              </a:buClr>
              <a:buSzPct val="60000"/>
              <a:buFont typeface="Wingdings 3" panose="05040102010807070707" pitchFamily="18" charset="2"/>
              <a:buChar char="w"/>
              <a:defRPr sz="1900" b="0" i="0" kern="900" spc="-93">
                <a:solidFill>
                  <a:schemeClr val="tx1"/>
                </a:solidFill>
                <a:latin typeface="+mn-lt"/>
                <a:ea typeface="+mn-ea"/>
                <a:cs typeface="3ds Light"/>
              </a:defRPr>
            </a:lvl4pPr>
            <a:lvl5pPr marL="1218987" indent="0" algn="l" defTabSz="1371360" rtl="0" eaLnBrk="1" latinLnBrk="0" hangingPunct="1">
              <a:lnSpc>
                <a:spcPct val="100000"/>
              </a:lnSpc>
              <a:spcBef>
                <a:spcPts val="400"/>
              </a:spcBef>
              <a:buFont typeface="Arial"/>
              <a:buNone/>
              <a:defRPr sz="1600" b="0" i="0" kern="1200" baseline="0">
                <a:solidFill>
                  <a:schemeClr val="tx1"/>
                </a:solidFill>
                <a:latin typeface="+mn-lt"/>
                <a:ea typeface="+mn-ea"/>
                <a:cs typeface="3ds Light"/>
              </a:defRPr>
            </a:lvl5pPr>
            <a:lvl6pPr marL="3222993" indent="-292999" algn="l" defTabSz="11719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08991" indent="-292999" algn="l" defTabSz="11719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94989" indent="-292999" algn="l" defTabSz="11719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980988" indent="-292999" algn="l" defTabSz="11719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accent5"/>
              </a:buClr>
              <a:buFont typeface="Lucida Grande"/>
              <a:buChar char="⎯"/>
            </a:pPr>
            <a:r>
              <a:rPr lang="de-DE" sz="1067" b="1">
                <a:solidFill>
                  <a:srgbClr val="6F6F6F"/>
                </a:solidFill>
              </a:rPr>
              <a:t>1 FEB </a:t>
            </a:r>
            <a:br>
              <a:rPr lang="de-DE" sz="1067">
                <a:solidFill>
                  <a:srgbClr val="6F6F6F"/>
                </a:solidFill>
              </a:rPr>
            </a:br>
            <a:r>
              <a:rPr lang="de-DE" sz="1467">
                <a:solidFill>
                  <a:schemeClr val="accent6"/>
                </a:solidFill>
              </a:rPr>
              <a:t>Aktivität 1</a:t>
            </a:r>
          </a:p>
          <a:p>
            <a:pPr>
              <a:buClr>
                <a:schemeClr val="accent5"/>
              </a:buClr>
              <a:buFont typeface="Lucida Grande"/>
              <a:buChar char="⎯"/>
            </a:pPr>
            <a:r>
              <a:rPr lang="de-DE" sz="1067" b="1">
                <a:solidFill>
                  <a:schemeClr val="accent5"/>
                </a:solidFill>
              </a:rPr>
              <a:t>2 </a:t>
            </a:r>
            <a:r>
              <a:rPr lang="de-DE" sz="1067" b="1">
                <a:solidFill>
                  <a:srgbClr val="6F6F6F"/>
                </a:solidFill>
              </a:rPr>
              <a:t>FEB</a:t>
            </a:r>
            <a:r>
              <a:rPr lang="de-DE" sz="1067" b="1">
                <a:solidFill>
                  <a:schemeClr val="accent5"/>
                </a:solidFill>
              </a:rPr>
              <a:t> </a:t>
            </a:r>
            <a:br>
              <a:rPr lang="de-DE" sz="1200">
                <a:solidFill>
                  <a:schemeClr val="accent5"/>
                </a:solidFill>
              </a:rPr>
            </a:br>
            <a:r>
              <a:rPr lang="de-DE" sz="1467">
                <a:solidFill>
                  <a:schemeClr val="accent6"/>
                </a:solidFill>
              </a:rPr>
              <a:t>Aktivität 2</a:t>
            </a:r>
          </a:p>
          <a:p>
            <a:pPr>
              <a:buClr>
                <a:schemeClr val="accent5"/>
              </a:buClr>
              <a:buFont typeface="Lucida Grande"/>
              <a:buChar char="⎯"/>
            </a:pPr>
            <a:r>
              <a:rPr lang="de-DE" sz="1067" b="1">
                <a:solidFill>
                  <a:schemeClr val="accent5"/>
                </a:solidFill>
              </a:rPr>
              <a:t>3 </a:t>
            </a:r>
            <a:r>
              <a:rPr lang="de-DE" sz="1067" b="1">
                <a:solidFill>
                  <a:srgbClr val="6F6F6F"/>
                </a:solidFill>
              </a:rPr>
              <a:t>FEB</a:t>
            </a:r>
            <a:br>
              <a:rPr lang="de-DE" sz="1200">
                <a:solidFill>
                  <a:srgbClr val="6F6F6F"/>
                </a:solidFill>
              </a:rPr>
            </a:br>
            <a:r>
              <a:rPr lang="de-DE" sz="1467">
                <a:solidFill>
                  <a:schemeClr val="accent6"/>
                </a:solidFill>
              </a:rPr>
              <a:t>Aktivität 3</a:t>
            </a:r>
          </a:p>
        </p:txBody>
      </p:sp>
      <p:sp>
        <p:nvSpPr>
          <p:cNvPr id="60" name="Textplatzhalter 13"/>
          <p:cNvSpPr txBox="1">
            <a:spLocks/>
          </p:cNvSpPr>
          <p:nvPr userDrawn="1"/>
        </p:nvSpPr>
        <p:spPr>
          <a:xfrm>
            <a:off x="3455096" y="3944273"/>
            <a:ext cx="1597233" cy="2237697"/>
          </a:xfrm>
          <a:prstGeom prst="rect">
            <a:avLst/>
          </a:prstGeom>
        </p:spPr>
        <p:txBody>
          <a:bodyPr lIns="0" tIns="0" rIns="0" bIns="0" anchor="b" anchorCtr="0"/>
          <a:lstStyle>
            <a:lvl1pPr marL="304747" indent="-304747" algn="l" defTabSz="1171998" rtl="0" eaLnBrk="1" latinLnBrk="0" hangingPunct="1">
              <a:lnSpc>
                <a:spcPct val="100000"/>
              </a:lnSpc>
              <a:spcBef>
                <a:spcPts val="1066"/>
              </a:spcBef>
              <a:buClr>
                <a:schemeClr val="tx1"/>
              </a:buClr>
              <a:buSzPct val="80000"/>
              <a:buFont typeface="Wingdings 3" panose="05040102010807070707" pitchFamily="18" charset="2"/>
              <a:buChar char="u"/>
              <a:defRPr sz="2700" b="0" i="0" kern="900" spc="0">
                <a:solidFill>
                  <a:schemeClr val="tx1"/>
                </a:solidFill>
                <a:latin typeface="+mn-lt"/>
                <a:ea typeface="+mn-ea"/>
                <a:cs typeface="3ds Light"/>
              </a:defRPr>
            </a:lvl1pPr>
            <a:lvl2pPr marL="533307" marR="0" indent="-234910" algn="l" defTabSz="1171998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 3" panose="05040102010807070707" pitchFamily="18" charset="2"/>
              <a:buChar char="w"/>
              <a:tabLst/>
              <a:defRPr sz="2400" b="0" i="0" kern="900" spc="0" baseline="0">
                <a:solidFill>
                  <a:schemeClr val="tx1"/>
                </a:solidFill>
                <a:latin typeface="+mn-lt"/>
                <a:ea typeface="+mn-ea"/>
                <a:cs typeface="3ds Light"/>
              </a:defRPr>
            </a:lvl2pPr>
            <a:lvl3pPr marL="838053" marR="0" indent="-211630" algn="l" defTabSz="1171998" rtl="0" eaLnBrk="1" fontAlgn="auto" latinLnBrk="0" hangingPunct="1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tx1"/>
              </a:buClr>
              <a:buSzPct val="60000"/>
              <a:buFont typeface="Wingdings 3" panose="05040102010807070707" pitchFamily="18" charset="2"/>
              <a:buChar char="u"/>
              <a:tabLst/>
              <a:defRPr sz="2100" b="0" i="0" kern="900" spc="0">
                <a:solidFill>
                  <a:schemeClr val="tx1"/>
                </a:solidFill>
                <a:latin typeface="+mn-lt"/>
                <a:ea typeface="+mn-ea"/>
                <a:cs typeface="3ds Light"/>
              </a:defRPr>
            </a:lvl3pPr>
            <a:lvl4pPr marL="1142800" indent="-239142" algn="l" defTabSz="1171998" rtl="0" eaLnBrk="1" latinLnBrk="0" hangingPunct="1">
              <a:lnSpc>
                <a:spcPct val="100000"/>
              </a:lnSpc>
              <a:spcBef>
                <a:spcPts val="533"/>
              </a:spcBef>
              <a:buClr>
                <a:schemeClr val="tx1"/>
              </a:buClr>
              <a:buSzPct val="60000"/>
              <a:buFont typeface="Wingdings 3" panose="05040102010807070707" pitchFamily="18" charset="2"/>
              <a:buChar char="w"/>
              <a:defRPr sz="1900" b="0" i="0" kern="900" spc="-93">
                <a:solidFill>
                  <a:schemeClr val="tx1"/>
                </a:solidFill>
                <a:latin typeface="+mn-lt"/>
                <a:ea typeface="+mn-ea"/>
                <a:cs typeface="3ds Light"/>
              </a:defRPr>
            </a:lvl4pPr>
            <a:lvl5pPr marL="1218987" indent="0" algn="l" defTabSz="1371360" rtl="0" eaLnBrk="1" latinLnBrk="0" hangingPunct="1">
              <a:lnSpc>
                <a:spcPct val="100000"/>
              </a:lnSpc>
              <a:spcBef>
                <a:spcPts val="400"/>
              </a:spcBef>
              <a:buFont typeface="Arial"/>
              <a:buNone/>
              <a:defRPr sz="1600" b="0" i="0" kern="1200" baseline="0">
                <a:solidFill>
                  <a:schemeClr val="tx1"/>
                </a:solidFill>
                <a:latin typeface="+mn-lt"/>
                <a:ea typeface="+mn-ea"/>
                <a:cs typeface="3ds Light"/>
              </a:defRPr>
            </a:lvl5pPr>
            <a:lvl6pPr marL="3222993" indent="-292999" algn="l" defTabSz="11719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08991" indent="-292999" algn="l" defTabSz="11719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94989" indent="-292999" algn="l" defTabSz="11719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980988" indent="-292999" algn="l" defTabSz="11719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accent5"/>
              </a:buClr>
              <a:buFont typeface="Lucida Grande"/>
              <a:buChar char="⎯"/>
            </a:pPr>
            <a:r>
              <a:rPr lang="de-DE" sz="1067" b="1">
                <a:solidFill>
                  <a:srgbClr val="6F6F6F"/>
                </a:solidFill>
              </a:rPr>
              <a:t>1 APR</a:t>
            </a:r>
            <a:br>
              <a:rPr lang="de-DE" sz="1067">
                <a:solidFill>
                  <a:srgbClr val="6F6F6F"/>
                </a:solidFill>
              </a:rPr>
            </a:br>
            <a:r>
              <a:rPr lang="de-DE" sz="1467">
                <a:solidFill>
                  <a:schemeClr val="accent6"/>
                </a:solidFill>
              </a:rPr>
              <a:t>Aktivität 1</a:t>
            </a:r>
          </a:p>
          <a:p>
            <a:pPr>
              <a:buClr>
                <a:schemeClr val="accent5"/>
              </a:buClr>
              <a:buFont typeface="Lucida Grande"/>
              <a:buChar char="⎯"/>
            </a:pPr>
            <a:r>
              <a:rPr lang="de-DE" sz="1067" b="1">
                <a:solidFill>
                  <a:schemeClr val="accent5"/>
                </a:solidFill>
              </a:rPr>
              <a:t>2 </a:t>
            </a:r>
            <a:r>
              <a:rPr lang="de-DE" sz="1067" b="1">
                <a:solidFill>
                  <a:srgbClr val="6F6F6F"/>
                </a:solidFill>
              </a:rPr>
              <a:t>APR</a:t>
            </a:r>
            <a:r>
              <a:rPr lang="de-DE" sz="1067" b="1">
                <a:solidFill>
                  <a:schemeClr val="accent5"/>
                </a:solidFill>
              </a:rPr>
              <a:t> </a:t>
            </a:r>
            <a:br>
              <a:rPr lang="de-DE" sz="1200">
                <a:solidFill>
                  <a:schemeClr val="accent5"/>
                </a:solidFill>
              </a:rPr>
            </a:br>
            <a:r>
              <a:rPr lang="de-DE" sz="1467">
                <a:solidFill>
                  <a:schemeClr val="accent6"/>
                </a:solidFill>
              </a:rPr>
              <a:t>Aktivität 2</a:t>
            </a:r>
          </a:p>
          <a:p>
            <a:pPr>
              <a:buClr>
                <a:schemeClr val="accent5"/>
              </a:buClr>
              <a:buFont typeface="Lucida Grande"/>
              <a:buChar char="⎯"/>
            </a:pPr>
            <a:r>
              <a:rPr lang="de-DE" sz="1067" b="1">
                <a:solidFill>
                  <a:schemeClr val="accent5"/>
                </a:solidFill>
              </a:rPr>
              <a:t>3 </a:t>
            </a:r>
            <a:r>
              <a:rPr lang="de-DE" sz="1067" b="1">
                <a:solidFill>
                  <a:srgbClr val="6F6F6F"/>
                </a:solidFill>
              </a:rPr>
              <a:t>APR</a:t>
            </a:r>
            <a:r>
              <a:rPr lang="de-DE" sz="1067" b="1">
                <a:solidFill>
                  <a:schemeClr val="accent5"/>
                </a:solidFill>
              </a:rPr>
              <a:t> </a:t>
            </a:r>
            <a:br>
              <a:rPr lang="de-DE" sz="1200">
                <a:solidFill>
                  <a:srgbClr val="6F6F6F"/>
                </a:solidFill>
              </a:rPr>
            </a:br>
            <a:r>
              <a:rPr lang="de-DE" sz="1467">
                <a:solidFill>
                  <a:schemeClr val="accent6"/>
                </a:solidFill>
              </a:rPr>
              <a:t>Aktivität 3</a:t>
            </a:r>
          </a:p>
        </p:txBody>
      </p:sp>
      <p:sp>
        <p:nvSpPr>
          <p:cNvPr id="61" name="Textplatzhalter 13"/>
          <p:cNvSpPr txBox="1">
            <a:spLocks/>
          </p:cNvSpPr>
          <p:nvPr userDrawn="1"/>
        </p:nvSpPr>
        <p:spPr>
          <a:xfrm>
            <a:off x="5311371" y="3944273"/>
            <a:ext cx="1597233" cy="2237697"/>
          </a:xfrm>
          <a:prstGeom prst="rect">
            <a:avLst/>
          </a:prstGeom>
        </p:spPr>
        <p:txBody>
          <a:bodyPr lIns="0" tIns="0" rIns="0" bIns="0" anchor="b" anchorCtr="0"/>
          <a:lstStyle>
            <a:lvl1pPr marL="304747" indent="-304747" algn="l" defTabSz="1171998" rtl="0" eaLnBrk="1" latinLnBrk="0" hangingPunct="1">
              <a:lnSpc>
                <a:spcPct val="100000"/>
              </a:lnSpc>
              <a:spcBef>
                <a:spcPts val="1066"/>
              </a:spcBef>
              <a:buClr>
                <a:schemeClr val="tx1"/>
              </a:buClr>
              <a:buSzPct val="80000"/>
              <a:buFont typeface="Wingdings 3" panose="05040102010807070707" pitchFamily="18" charset="2"/>
              <a:buChar char="u"/>
              <a:defRPr sz="2700" b="0" i="0" kern="900" spc="0">
                <a:solidFill>
                  <a:schemeClr val="tx1"/>
                </a:solidFill>
                <a:latin typeface="+mn-lt"/>
                <a:ea typeface="+mn-ea"/>
                <a:cs typeface="3ds Light"/>
              </a:defRPr>
            </a:lvl1pPr>
            <a:lvl2pPr marL="533307" marR="0" indent="-234910" algn="l" defTabSz="1171998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 3" panose="05040102010807070707" pitchFamily="18" charset="2"/>
              <a:buChar char="w"/>
              <a:tabLst/>
              <a:defRPr sz="2400" b="0" i="0" kern="900" spc="0" baseline="0">
                <a:solidFill>
                  <a:schemeClr val="tx1"/>
                </a:solidFill>
                <a:latin typeface="+mn-lt"/>
                <a:ea typeface="+mn-ea"/>
                <a:cs typeface="3ds Light"/>
              </a:defRPr>
            </a:lvl2pPr>
            <a:lvl3pPr marL="838053" marR="0" indent="-211630" algn="l" defTabSz="1171998" rtl="0" eaLnBrk="1" fontAlgn="auto" latinLnBrk="0" hangingPunct="1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tx1"/>
              </a:buClr>
              <a:buSzPct val="60000"/>
              <a:buFont typeface="Wingdings 3" panose="05040102010807070707" pitchFamily="18" charset="2"/>
              <a:buChar char="u"/>
              <a:tabLst/>
              <a:defRPr sz="2100" b="0" i="0" kern="900" spc="0">
                <a:solidFill>
                  <a:schemeClr val="tx1"/>
                </a:solidFill>
                <a:latin typeface="+mn-lt"/>
                <a:ea typeface="+mn-ea"/>
                <a:cs typeface="3ds Light"/>
              </a:defRPr>
            </a:lvl3pPr>
            <a:lvl4pPr marL="1142800" indent="-239142" algn="l" defTabSz="1171998" rtl="0" eaLnBrk="1" latinLnBrk="0" hangingPunct="1">
              <a:lnSpc>
                <a:spcPct val="100000"/>
              </a:lnSpc>
              <a:spcBef>
                <a:spcPts val="533"/>
              </a:spcBef>
              <a:buClr>
                <a:schemeClr val="tx1"/>
              </a:buClr>
              <a:buSzPct val="60000"/>
              <a:buFont typeface="Wingdings 3" panose="05040102010807070707" pitchFamily="18" charset="2"/>
              <a:buChar char="w"/>
              <a:defRPr sz="1900" b="0" i="0" kern="900" spc="-93">
                <a:solidFill>
                  <a:schemeClr val="tx1"/>
                </a:solidFill>
                <a:latin typeface="+mn-lt"/>
                <a:ea typeface="+mn-ea"/>
                <a:cs typeface="3ds Light"/>
              </a:defRPr>
            </a:lvl4pPr>
            <a:lvl5pPr marL="1218987" indent="0" algn="l" defTabSz="1371360" rtl="0" eaLnBrk="1" latinLnBrk="0" hangingPunct="1">
              <a:lnSpc>
                <a:spcPct val="100000"/>
              </a:lnSpc>
              <a:spcBef>
                <a:spcPts val="400"/>
              </a:spcBef>
              <a:buFont typeface="Arial"/>
              <a:buNone/>
              <a:defRPr sz="1600" b="0" i="0" kern="1200" baseline="0">
                <a:solidFill>
                  <a:schemeClr val="tx1"/>
                </a:solidFill>
                <a:latin typeface="+mn-lt"/>
                <a:ea typeface="+mn-ea"/>
                <a:cs typeface="3ds Light"/>
              </a:defRPr>
            </a:lvl5pPr>
            <a:lvl6pPr marL="3222993" indent="-292999" algn="l" defTabSz="11719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08991" indent="-292999" algn="l" defTabSz="11719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94989" indent="-292999" algn="l" defTabSz="11719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980988" indent="-292999" algn="l" defTabSz="11719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accent5"/>
              </a:buClr>
              <a:buFont typeface="Lucida Grande"/>
              <a:buChar char="⎯"/>
            </a:pPr>
            <a:r>
              <a:rPr lang="de-DE" sz="1067" b="1">
                <a:solidFill>
                  <a:srgbClr val="6F6F6F"/>
                </a:solidFill>
              </a:rPr>
              <a:t>1 JUN </a:t>
            </a:r>
            <a:br>
              <a:rPr lang="de-DE" sz="1067">
                <a:solidFill>
                  <a:srgbClr val="6F6F6F"/>
                </a:solidFill>
              </a:rPr>
            </a:br>
            <a:r>
              <a:rPr lang="de-DE" sz="1467">
                <a:solidFill>
                  <a:schemeClr val="accent6"/>
                </a:solidFill>
              </a:rPr>
              <a:t>Aktivität 1</a:t>
            </a:r>
          </a:p>
          <a:p>
            <a:pPr>
              <a:buClr>
                <a:schemeClr val="accent5"/>
              </a:buClr>
              <a:buFont typeface="Lucida Grande"/>
              <a:buChar char="⎯"/>
            </a:pPr>
            <a:r>
              <a:rPr lang="de-DE" sz="1067" b="1">
                <a:solidFill>
                  <a:schemeClr val="accent5"/>
                </a:solidFill>
              </a:rPr>
              <a:t>2 </a:t>
            </a:r>
            <a:r>
              <a:rPr lang="de-DE" sz="1067" b="1">
                <a:solidFill>
                  <a:srgbClr val="6F6F6F"/>
                </a:solidFill>
              </a:rPr>
              <a:t>JUN </a:t>
            </a:r>
            <a:r>
              <a:rPr lang="de-DE" sz="1067" b="1">
                <a:solidFill>
                  <a:schemeClr val="accent5"/>
                </a:solidFill>
              </a:rPr>
              <a:t> </a:t>
            </a:r>
            <a:br>
              <a:rPr lang="de-DE" sz="1200">
                <a:solidFill>
                  <a:schemeClr val="accent5"/>
                </a:solidFill>
              </a:rPr>
            </a:br>
            <a:r>
              <a:rPr lang="de-DE" sz="1467">
                <a:solidFill>
                  <a:schemeClr val="accent6"/>
                </a:solidFill>
              </a:rPr>
              <a:t>Aktivität 2</a:t>
            </a:r>
          </a:p>
          <a:p>
            <a:pPr>
              <a:buClr>
                <a:schemeClr val="accent5"/>
              </a:buClr>
              <a:buFont typeface="Lucida Grande"/>
              <a:buChar char="⎯"/>
            </a:pPr>
            <a:r>
              <a:rPr lang="de-DE" sz="1067" b="1">
                <a:solidFill>
                  <a:schemeClr val="accent5"/>
                </a:solidFill>
              </a:rPr>
              <a:t>3 </a:t>
            </a:r>
            <a:r>
              <a:rPr lang="de-DE" sz="1067" b="1">
                <a:solidFill>
                  <a:srgbClr val="6F6F6F"/>
                </a:solidFill>
              </a:rPr>
              <a:t>JUN </a:t>
            </a:r>
            <a:r>
              <a:rPr lang="de-DE" sz="1067" b="1">
                <a:solidFill>
                  <a:schemeClr val="accent5"/>
                </a:solidFill>
              </a:rPr>
              <a:t> </a:t>
            </a:r>
            <a:br>
              <a:rPr lang="de-DE" sz="1200">
                <a:solidFill>
                  <a:srgbClr val="6F6F6F"/>
                </a:solidFill>
              </a:rPr>
            </a:br>
            <a:r>
              <a:rPr lang="de-DE" sz="1467">
                <a:solidFill>
                  <a:schemeClr val="accent6"/>
                </a:solidFill>
              </a:rPr>
              <a:t>Aktivität 3</a:t>
            </a:r>
          </a:p>
        </p:txBody>
      </p:sp>
      <p:sp>
        <p:nvSpPr>
          <p:cNvPr id="62" name="Textplatzhalter 13"/>
          <p:cNvSpPr txBox="1">
            <a:spLocks/>
          </p:cNvSpPr>
          <p:nvPr userDrawn="1"/>
        </p:nvSpPr>
        <p:spPr>
          <a:xfrm>
            <a:off x="7157629" y="3944273"/>
            <a:ext cx="1597233" cy="2237697"/>
          </a:xfrm>
          <a:prstGeom prst="rect">
            <a:avLst/>
          </a:prstGeom>
        </p:spPr>
        <p:txBody>
          <a:bodyPr lIns="0" tIns="0" rIns="0" bIns="0" anchor="b" anchorCtr="0"/>
          <a:lstStyle>
            <a:lvl1pPr marL="304747" indent="-304747" algn="l" defTabSz="1171998" rtl="0" eaLnBrk="1" latinLnBrk="0" hangingPunct="1">
              <a:lnSpc>
                <a:spcPct val="100000"/>
              </a:lnSpc>
              <a:spcBef>
                <a:spcPts val="1066"/>
              </a:spcBef>
              <a:buClr>
                <a:schemeClr val="tx1"/>
              </a:buClr>
              <a:buSzPct val="80000"/>
              <a:buFont typeface="Wingdings 3" panose="05040102010807070707" pitchFamily="18" charset="2"/>
              <a:buChar char="u"/>
              <a:defRPr sz="2700" b="0" i="0" kern="900" spc="0">
                <a:solidFill>
                  <a:schemeClr val="tx1"/>
                </a:solidFill>
                <a:latin typeface="+mn-lt"/>
                <a:ea typeface="+mn-ea"/>
                <a:cs typeface="3ds Light"/>
              </a:defRPr>
            </a:lvl1pPr>
            <a:lvl2pPr marL="533307" marR="0" indent="-234910" algn="l" defTabSz="1171998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 3" panose="05040102010807070707" pitchFamily="18" charset="2"/>
              <a:buChar char="w"/>
              <a:tabLst/>
              <a:defRPr sz="2400" b="0" i="0" kern="900" spc="0" baseline="0">
                <a:solidFill>
                  <a:schemeClr val="tx1"/>
                </a:solidFill>
                <a:latin typeface="+mn-lt"/>
                <a:ea typeface="+mn-ea"/>
                <a:cs typeface="3ds Light"/>
              </a:defRPr>
            </a:lvl2pPr>
            <a:lvl3pPr marL="838053" marR="0" indent="-211630" algn="l" defTabSz="1171998" rtl="0" eaLnBrk="1" fontAlgn="auto" latinLnBrk="0" hangingPunct="1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tx1"/>
              </a:buClr>
              <a:buSzPct val="60000"/>
              <a:buFont typeface="Wingdings 3" panose="05040102010807070707" pitchFamily="18" charset="2"/>
              <a:buChar char="u"/>
              <a:tabLst/>
              <a:defRPr sz="2100" b="0" i="0" kern="900" spc="0">
                <a:solidFill>
                  <a:schemeClr val="tx1"/>
                </a:solidFill>
                <a:latin typeface="+mn-lt"/>
                <a:ea typeface="+mn-ea"/>
                <a:cs typeface="3ds Light"/>
              </a:defRPr>
            </a:lvl3pPr>
            <a:lvl4pPr marL="1142800" indent="-239142" algn="l" defTabSz="1171998" rtl="0" eaLnBrk="1" latinLnBrk="0" hangingPunct="1">
              <a:lnSpc>
                <a:spcPct val="100000"/>
              </a:lnSpc>
              <a:spcBef>
                <a:spcPts val="533"/>
              </a:spcBef>
              <a:buClr>
                <a:schemeClr val="tx1"/>
              </a:buClr>
              <a:buSzPct val="60000"/>
              <a:buFont typeface="Wingdings 3" panose="05040102010807070707" pitchFamily="18" charset="2"/>
              <a:buChar char="w"/>
              <a:defRPr sz="1900" b="0" i="0" kern="900" spc="-93">
                <a:solidFill>
                  <a:schemeClr val="tx1"/>
                </a:solidFill>
                <a:latin typeface="+mn-lt"/>
                <a:ea typeface="+mn-ea"/>
                <a:cs typeface="3ds Light"/>
              </a:defRPr>
            </a:lvl4pPr>
            <a:lvl5pPr marL="1218987" indent="0" algn="l" defTabSz="1371360" rtl="0" eaLnBrk="1" latinLnBrk="0" hangingPunct="1">
              <a:lnSpc>
                <a:spcPct val="100000"/>
              </a:lnSpc>
              <a:spcBef>
                <a:spcPts val="400"/>
              </a:spcBef>
              <a:buFont typeface="Arial"/>
              <a:buNone/>
              <a:defRPr sz="1600" b="0" i="0" kern="1200" baseline="0">
                <a:solidFill>
                  <a:schemeClr val="tx1"/>
                </a:solidFill>
                <a:latin typeface="+mn-lt"/>
                <a:ea typeface="+mn-ea"/>
                <a:cs typeface="3ds Light"/>
              </a:defRPr>
            </a:lvl5pPr>
            <a:lvl6pPr marL="3222993" indent="-292999" algn="l" defTabSz="11719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08991" indent="-292999" algn="l" defTabSz="11719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94989" indent="-292999" algn="l" defTabSz="11719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980988" indent="-292999" algn="l" defTabSz="11719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accent5"/>
              </a:buClr>
              <a:buFont typeface="Lucida Grande"/>
              <a:buChar char="⎯"/>
            </a:pPr>
            <a:r>
              <a:rPr lang="de-DE" sz="1067" b="1">
                <a:solidFill>
                  <a:srgbClr val="6F6F6F"/>
                </a:solidFill>
              </a:rPr>
              <a:t>1 AUG </a:t>
            </a:r>
            <a:br>
              <a:rPr lang="de-DE" sz="1067">
                <a:solidFill>
                  <a:srgbClr val="6F6F6F"/>
                </a:solidFill>
              </a:rPr>
            </a:br>
            <a:r>
              <a:rPr lang="de-DE" sz="1467">
                <a:solidFill>
                  <a:schemeClr val="accent6"/>
                </a:solidFill>
              </a:rPr>
              <a:t>Aktivität 1</a:t>
            </a:r>
          </a:p>
          <a:p>
            <a:pPr>
              <a:buClr>
                <a:schemeClr val="accent5"/>
              </a:buClr>
              <a:buFont typeface="Lucida Grande"/>
              <a:buChar char="⎯"/>
            </a:pPr>
            <a:r>
              <a:rPr lang="de-DE" sz="1067" b="1">
                <a:solidFill>
                  <a:schemeClr val="accent5"/>
                </a:solidFill>
              </a:rPr>
              <a:t>2 </a:t>
            </a:r>
            <a:r>
              <a:rPr lang="de-DE" sz="1067" b="1">
                <a:solidFill>
                  <a:srgbClr val="6F6F6F"/>
                </a:solidFill>
              </a:rPr>
              <a:t>AUG</a:t>
            </a:r>
            <a:r>
              <a:rPr lang="de-DE" sz="1067" b="1">
                <a:solidFill>
                  <a:schemeClr val="accent5"/>
                </a:solidFill>
              </a:rPr>
              <a:t> </a:t>
            </a:r>
            <a:br>
              <a:rPr lang="de-DE" sz="1200">
                <a:solidFill>
                  <a:schemeClr val="accent5"/>
                </a:solidFill>
              </a:rPr>
            </a:br>
            <a:r>
              <a:rPr lang="de-DE" sz="1467">
                <a:solidFill>
                  <a:schemeClr val="accent6"/>
                </a:solidFill>
              </a:rPr>
              <a:t>Aktivität 2</a:t>
            </a:r>
          </a:p>
          <a:p>
            <a:pPr>
              <a:buClr>
                <a:schemeClr val="accent5"/>
              </a:buClr>
              <a:buFont typeface="Lucida Grande"/>
              <a:buChar char="⎯"/>
            </a:pPr>
            <a:r>
              <a:rPr lang="de-DE" sz="1067" b="1">
                <a:solidFill>
                  <a:schemeClr val="accent5"/>
                </a:solidFill>
              </a:rPr>
              <a:t>3 </a:t>
            </a:r>
            <a:r>
              <a:rPr lang="de-DE" sz="1067" b="1">
                <a:solidFill>
                  <a:srgbClr val="6F6F6F"/>
                </a:solidFill>
              </a:rPr>
              <a:t>AUG</a:t>
            </a:r>
            <a:br>
              <a:rPr lang="de-DE" sz="1200">
                <a:solidFill>
                  <a:srgbClr val="6F6F6F"/>
                </a:solidFill>
              </a:rPr>
            </a:br>
            <a:r>
              <a:rPr lang="de-DE" sz="1467">
                <a:solidFill>
                  <a:schemeClr val="accent6"/>
                </a:solidFill>
              </a:rPr>
              <a:t>Aktivität 3</a:t>
            </a:r>
          </a:p>
        </p:txBody>
      </p:sp>
      <p:sp>
        <p:nvSpPr>
          <p:cNvPr id="63" name="Textplatzhalter 13"/>
          <p:cNvSpPr txBox="1">
            <a:spLocks/>
          </p:cNvSpPr>
          <p:nvPr userDrawn="1"/>
        </p:nvSpPr>
        <p:spPr>
          <a:xfrm>
            <a:off x="9015491" y="3944273"/>
            <a:ext cx="1597233" cy="2237697"/>
          </a:xfrm>
          <a:prstGeom prst="rect">
            <a:avLst/>
          </a:prstGeom>
        </p:spPr>
        <p:txBody>
          <a:bodyPr lIns="0" tIns="0" rIns="0" bIns="0" anchor="b" anchorCtr="0"/>
          <a:lstStyle>
            <a:lvl1pPr marL="304747" indent="-304747" algn="l" defTabSz="1171998" rtl="0" eaLnBrk="1" latinLnBrk="0" hangingPunct="1">
              <a:lnSpc>
                <a:spcPct val="100000"/>
              </a:lnSpc>
              <a:spcBef>
                <a:spcPts val="1066"/>
              </a:spcBef>
              <a:buClr>
                <a:schemeClr val="tx1"/>
              </a:buClr>
              <a:buSzPct val="80000"/>
              <a:buFont typeface="Wingdings 3" panose="05040102010807070707" pitchFamily="18" charset="2"/>
              <a:buChar char="u"/>
              <a:defRPr sz="2700" b="0" i="0" kern="900" spc="0">
                <a:solidFill>
                  <a:schemeClr val="tx1"/>
                </a:solidFill>
                <a:latin typeface="+mn-lt"/>
                <a:ea typeface="+mn-ea"/>
                <a:cs typeface="3ds Light"/>
              </a:defRPr>
            </a:lvl1pPr>
            <a:lvl2pPr marL="533307" marR="0" indent="-234910" algn="l" defTabSz="1171998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 3" panose="05040102010807070707" pitchFamily="18" charset="2"/>
              <a:buChar char="w"/>
              <a:tabLst/>
              <a:defRPr sz="2400" b="0" i="0" kern="900" spc="0" baseline="0">
                <a:solidFill>
                  <a:schemeClr val="tx1"/>
                </a:solidFill>
                <a:latin typeface="+mn-lt"/>
                <a:ea typeface="+mn-ea"/>
                <a:cs typeface="3ds Light"/>
              </a:defRPr>
            </a:lvl2pPr>
            <a:lvl3pPr marL="838053" marR="0" indent="-211630" algn="l" defTabSz="1171998" rtl="0" eaLnBrk="1" fontAlgn="auto" latinLnBrk="0" hangingPunct="1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tx1"/>
              </a:buClr>
              <a:buSzPct val="60000"/>
              <a:buFont typeface="Wingdings 3" panose="05040102010807070707" pitchFamily="18" charset="2"/>
              <a:buChar char="u"/>
              <a:tabLst/>
              <a:defRPr sz="2100" b="0" i="0" kern="900" spc="0">
                <a:solidFill>
                  <a:schemeClr val="tx1"/>
                </a:solidFill>
                <a:latin typeface="+mn-lt"/>
                <a:ea typeface="+mn-ea"/>
                <a:cs typeface="3ds Light"/>
              </a:defRPr>
            </a:lvl3pPr>
            <a:lvl4pPr marL="1142800" indent="-239142" algn="l" defTabSz="1171998" rtl="0" eaLnBrk="1" latinLnBrk="0" hangingPunct="1">
              <a:lnSpc>
                <a:spcPct val="100000"/>
              </a:lnSpc>
              <a:spcBef>
                <a:spcPts val="533"/>
              </a:spcBef>
              <a:buClr>
                <a:schemeClr val="tx1"/>
              </a:buClr>
              <a:buSzPct val="60000"/>
              <a:buFont typeface="Wingdings 3" panose="05040102010807070707" pitchFamily="18" charset="2"/>
              <a:buChar char="w"/>
              <a:defRPr sz="1900" b="0" i="0" kern="900" spc="-93">
                <a:solidFill>
                  <a:schemeClr val="tx1"/>
                </a:solidFill>
                <a:latin typeface="+mn-lt"/>
                <a:ea typeface="+mn-ea"/>
                <a:cs typeface="3ds Light"/>
              </a:defRPr>
            </a:lvl4pPr>
            <a:lvl5pPr marL="1218987" indent="0" algn="l" defTabSz="1371360" rtl="0" eaLnBrk="1" latinLnBrk="0" hangingPunct="1">
              <a:lnSpc>
                <a:spcPct val="100000"/>
              </a:lnSpc>
              <a:spcBef>
                <a:spcPts val="400"/>
              </a:spcBef>
              <a:buFont typeface="Arial"/>
              <a:buNone/>
              <a:defRPr sz="1600" b="0" i="0" kern="1200" baseline="0">
                <a:solidFill>
                  <a:schemeClr val="tx1"/>
                </a:solidFill>
                <a:latin typeface="+mn-lt"/>
                <a:ea typeface="+mn-ea"/>
                <a:cs typeface="3ds Light"/>
              </a:defRPr>
            </a:lvl5pPr>
            <a:lvl6pPr marL="3222993" indent="-292999" algn="l" defTabSz="11719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08991" indent="-292999" algn="l" defTabSz="11719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94989" indent="-292999" algn="l" defTabSz="11719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980988" indent="-292999" algn="l" defTabSz="11719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accent5"/>
              </a:buClr>
              <a:buFont typeface="Lucida Grande"/>
              <a:buChar char="⎯"/>
            </a:pPr>
            <a:r>
              <a:rPr lang="de-DE" sz="1067" b="1">
                <a:solidFill>
                  <a:srgbClr val="6F6F6F"/>
                </a:solidFill>
              </a:rPr>
              <a:t>1 OKT</a:t>
            </a:r>
            <a:br>
              <a:rPr lang="de-DE" sz="1067">
                <a:solidFill>
                  <a:srgbClr val="6F6F6F"/>
                </a:solidFill>
              </a:rPr>
            </a:br>
            <a:r>
              <a:rPr lang="de-DE" sz="1467">
                <a:solidFill>
                  <a:schemeClr val="accent6"/>
                </a:solidFill>
              </a:rPr>
              <a:t>Aktivität 1</a:t>
            </a:r>
          </a:p>
          <a:p>
            <a:pPr>
              <a:buClr>
                <a:schemeClr val="accent5"/>
              </a:buClr>
              <a:buFont typeface="Lucida Grande"/>
              <a:buChar char="⎯"/>
            </a:pPr>
            <a:r>
              <a:rPr lang="de-DE" sz="1067" b="1">
                <a:solidFill>
                  <a:schemeClr val="accent5"/>
                </a:solidFill>
              </a:rPr>
              <a:t>2 </a:t>
            </a:r>
            <a:r>
              <a:rPr lang="de-DE" sz="1067" b="1">
                <a:solidFill>
                  <a:srgbClr val="6F6F6F"/>
                </a:solidFill>
              </a:rPr>
              <a:t>OKT</a:t>
            </a:r>
            <a:r>
              <a:rPr lang="de-DE" sz="1067" b="1">
                <a:solidFill>
                  <a:schemeClr val="accent5"/>
                </a:solidFill>
              </a:rPr>
              <a:t> </a:t>
            </a:r>
            <a:br>
              <a:rPr lang="de-DE" sz="1200">
                <a:solidFill>
                  <a:schemeClr val="accent5"/>
                </a:solidFill>
              </a:rPr>
            </a:br>
            <a:r>
              <a:rPr lang="de-DE" sz="1467">
                <a:solidFill>
                  <a:schemeClr val="accent6"/>
                </a:solidFill>
              </a:rPr>
              <a:t>Aktivität 2</a:t>
            </a:r>
          </a:p>
          <a:p>
            <a:pPr>
              <a:buClr>
                <a:schemeClr val="accent5"/>
              </a:buClr>
              <a:buFont typeface="Lucida Grande"/>
              <a:buChar char="⎯"/>
            </a:pPr>
            <a:r>
              <a:rPr lang="de-DE" sz="1067" b="1">
                <a:solidFill>
                  <a:schemeClr val="accent5"/>
                </a:solidFill>
              </a:rPr>
              <a:t>3 </a:t>
            </a:r>
            <a:r>
              <a:rPr lang="de-DE" sz="1067" b="1">
                <a:solidFill>
                  <a:srgbClr val="6F6F6F"/>
                </a:solidFill>
              </a:rPr>
              <a:t>OKT</a:t>
            </a:r>
            <a:r>
              <a:rPr lang="de-DE" sz="1067" b="1">
                <a:solidFill>
                  <a:schemeClr val="accent5"/>
                </a:solidFill>
              </a:rPr>
              <a:t> </a:t>
            </a:r>
            <a:br>
              <a:rPr lang="de-DE" sz="1200">
                <a:solidFill>
                  <a:srgbClr val="6F6F6F"/>
                </a:solidFill>
              </a:rPr>
            </a:br>
            <a:r>
              <a:rPr lang="de-DE" sz="1467">
                <a:solidFill>
                  <a:schemeClr val="accent6"/>
                </a:solidFill>
              </a:rPr>
              <a:t>Aktivität 3</a:t>
            </a:r>
          </a:p>
        </p:txBody>
      </p:sp>
      <p:sp>
        <p:nvSpPr>
          <p:cNvPr id="64" name="Textplatzhalter 13"/>
          <p:cNvSpPr txBox="1">
            <a:spLocks/>
          </p:cNvSpPr>
          <p:nvPr userDrawn="1"/>
        </p:nvSpPr>
        <p:spPr>
          <a:xfrm>
            <a:off x="10860162" y="3944273"/>
            <a:ext cx="1340024" cy="2237697"/>
          </a:xfrm>
          <a:prstGeom prst="rect">
            <a:avLst/>
          </a:prstGeom>
        </p:spPr>
        <p:txBody>
          <a:bodyPr lIns="0" tIns="0" rIns="0" bIns="0" anchor="b" anchorCtr="0"/>
          <a:lstStyle>
            <a:lvl1pPr marL="304747" indent="-304747" algn="l" defTabSz="1171998" rtl="0" eaLnBrk="1" latinLnBrk="0" hangingPunct="1">
              <a:lnSpc>
                <a:spcPct val="100000"/>
              </a:lnSpc>
              <a:spcBef>
                <a:spcPts val="1066"/>
              </a:spcBef>
              <a:buClr>
                <a:schemeClr val="tx1"/>
              </a:buClr>
              <a:buSzPct val="80000"/>
              <a:buFont typeface="Wingdings 3" panose="05040102010807070707" pitchFamily="18" charset="2"/>
              <a:buChar char="u"/>
              <a:defRPr sz="2700" b="0" i="0" kern="900" spc="0">
                <a:solidFill>
                  <a:schemeClr val="tx1"/>
                </a:solidFill>
                <a:latin typeface="+mn-lt"/>
                <a:ea typeface="+mn-ea"/>
                <a:cs typeface="3ds Light"/>
              </a:defRPr>
            </a:lvl1pPr>
            <a:lvl2pPr marL="533307" marR="0" indent="-234910" algn="l" defTabSz="1171998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 3" panose="05040102010807070707" pitchFamily="18" charset="2"/>
              <a:buChar char="w"/>
              <a:tabLst/>
              <a:defRPr sz="2400" b="0" i="0" kern="900" spc="0" baseline="0">
                <a:solidFill>
                  <a:schemeClr val="tx1"/>
                </a:solidFill>
                <a:latin typeface="+mn-lt"/>
                <a:ea typeface="+mn-ea"/>
                <a:cs typeface="3ds Light"/>
              </a:defRPr>
            </a:lvl2pPr>
            <a:lvl3pPr marL="838053" marR="0" indent="-211630" algn="l" defTabSz="1171998" rtl="0" eaLnBrk="1" fontAlgn="auto" latinLnBrk="0" hangingPunct="1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tx1"/>
              </a:buClr>
              <a:buSzPct val="60000"/>
              <a:buFont typeface="Wingdings 3" panose="05040102010807070707" pitchFamily="18" charset="2"/>
              <a:buChar char="u"/>
              <a:tabLst/>
              <a:defRPr sz="2100" b="0" i="0" kern="900" spc="0">
                <a:solidFill>
                  <a:schemeClr val="tx1"/>
                </a:solidFill>
                <a:latin typeface="+mn-lt"/>
                <a:ea typeface="+mn-ea"/>
                <a:cs typeface="3ds Light"/>
              </a:defRPr>
            </a:lvl3pPr>
            <a:lvl4pPr marL="1142800" indent="-239142" algn="l" defTabSz="1171998" rtl="0" eaLnBrk="1" latinLnBrk="0" hangingPunct="1">
              <a:lnSpc>
                <a:spcPct val="100000"/>
              </a:lnSpc>
              <a:spcBef>
                <a:spcPts val="533"/>
              </a:spcBef>
              <a:buClr>
                <a:schemeClr val="tx1"/>
              </a:buClr>
              <a:buSzPct val="60000"/>
              <a:buFont typeface="Wingdings 3" panose="05040102010807070707" pitchFamily="18" charset="2"/>
              <a:buChar char="w"/>
              <a:defRPr sz="1900" b="0" i="0" kern="900" spc="-93">
                <a:solidFill>
                  <a:schemeClr val="tx1"/>
                </a:solidFill>
                <a:latin typeface="+mn-lt"/>
                <a:ea typeface="+mn-ea"/>
                <a:cs typeface="3ds Light"/>
              </a:defRPr>
            </a:lvl4pPr>
            <a:lvl5pPr marL="1218987" indent="0" algn="l" defTabSz="1371360" rtl="0" eaLnBrk="1" latinLnBrk="0" hangingPunct="1">
              <a:lnSpc>
                <a:spcPct val="100000"/>
              </a:lnSpc>
              <a:spcBef>
                <a:spcPts val="400"/>
              </a:spcBef>
              <a:buFont typeface="Arial"/>
              <a:buNone/>
              <a:defRPr sz="1600" b="0" i="0" kern="1200" baseline="0">
                <a:solidFill>
                  <a:schemeClr val="tx1"/>
                </a:solidFill>
                <a:latin typeface="+mn-lt"/>
                <a:ea typeface="+mn-ea"/>
                <a:cs typeface="3ds Light"/>
              </a:defRPr>
            </a:lvl5pPr>
            <a:lvl6pPr marL="3222993" indent="-292999" algn="l" defTabSz="11719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08991" indent="-292999" algn="l" defTabSz="11719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94989" indent="-292999" algn="l" defTabSz="11719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980988" indent="-292999" algn="l" defTabSz="11719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accent5"/>
              </a:buClr>
              <a:buFont typeface="Lucida Grande"/>
              <a:buChar char="⎯"/>
            </a:pPr>
            <a:r>
              <a:rPr lang="de-DE" sz="1067" b="1">
                <a:solidFill>
                  <a:srgbClr val="6F6F6F"/>
                </a:solidFill>
              </a:rPr>
              <a:t>1 DEZ </a:t>
            </a:r>
            <a:br>
              <a:rPr lang="de-DE" sz="1067">
                <a:solidFill>
                  <a:srgbClr val="6F6F6F"/>
                </a:solidFill>
              </a:rPr>
            </a:br>
            <a:r>
              <a:rPr lang="de-DE" sz="1467">
                <a:solidFill>
                  <a:schemeClr val="accent6"/>
                </a:solidFill>
              </a:rPr>
              <a:t>Aktivität 1</a:t>
            </a:r>
          </a:p>
          <a:p>
            <a:pPr>
              <a:buClr>
                <a:schemeClr val="accent5"/>
              </a:buClr>
              <a:buFont typeface="Lucida Grande"/>
              <a:buChar char="⎯"/>
            </a:pPr>
            <a:r>
              <a:rPr lang="de-DE" sz="1067" b="1">
                <a:solidFill>
                  <a:schemeClr val="accent5"/>
                </a:solidFill>
              </a:rPr>
              <a:t>2 </a:t>
            </a:r>
            <a:r>
              <a:rPr lang="de-DE" sz="1067" b="1">
                <a:solidFill>
                  <a:srgbClr val="6F6F6F"/>
                </a:solidFill>
              </a:rPr>
              <a:t>DEZ</a:t>
            </a:r>
            <a:r>
              <a:rPr lang="de-DE" sz="1067" b="1">
                <a:solidFill>
                  <a:schemeClr val="accent5"/>
                </a:solidFill>
              </a:rPr>
              <a:t> </a:t>
            </a:r>
            <a:br>
              <a:rPr lang="de-DE" sz="1200">
                <a:solidFill>
                  <a:schemeClr val="accent5"/>
                </a:solidFill>
              </a:rPr>
            </a:br>
            <a:r>
              <a:rPr lang="de-DE" sz="1467">
                <a:solidFill>
                  <a:schemeClr val="accent6"/>
                </a:solidFill>
              </a:rPr>
              <a:t>Aktivität 2</a:t>
            </a:r>
          </a:p>
          <a:p>
            <a:pPr>
              <a:buClr>
                <a:schemeClr val="accent5"/>
              </a:buClr>
              <a:buFont typeface="Lucida Grande"/>
              <a:buChar char="⎯"/>
            </a:pPr>
            <a:r>
              <a:rPr lang="de-DE" sz="1067" b="1">
                <a:solidFill>
                  <a:schemeClr val="accent5"/>
                </a:solidFill>
              </a:rPr>
              <a:t>3 </a:t>
            </a:r>
            <a:r>
              <a:rPr lang="de-DE" sz="1067" b="1">
                <a:solidFill>
                  <a:srgbClr val="6F6F6F"/>
                </a:solidFill>
              </a:rPr>
              <a:t>DEZ</a:t>
            </a:r>
            <a:r>
              <a:rPr lang="de-DE" sz="1067" b="1">
                <a:solidFill>
                  <a:schemeClr val="accent5"/>
                </a:solidFill>
              </a:rPr>
              <a:t> </a:t>
            </a:r>
            <a:br>
              <a:rPr lang="de-DE" sz="1200">
                <a:solidFill>
                  <a:srgbClr val="6F6F6F"/>
                </a:solidFill>
              </a:rPr>
            </a:br>
            <a:r>
              <a:rPr lang="de-DE" sz="1467">
                <a:solidFill>
                  <a:schemeClr val="accent6"/>
                </a:solidFill>
              </a:rPr>
              <a:t>Aktivität 3</a:t>
            </a:r>
          </a:p>
        </p:txBody>
      </p:sp>
      <p:sp>
        <p:nvSpPr>
          <p:cNvPr id="65" name="Titel 1"/>
          <p:cNvSpPr>
            <a:spLocks noGrp="1"/>
          </p:cNvSpPr>
          <p:nvPr>
            <p:ph type="title"/>
          </p:nvPr>
        </p:nvSpPr>
        <p:spPr>
          <a:xfrm>
            <a:off x="2517558" y="651516"/>
            <a:ext cx="9002844" cy="66198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cxnSp>
        <p:nvCxnSpPr>
          <p:cNvPr id="66" name="Gerade Verbindung 65"/>
          <p:cNvCxnSpPr/>
          <p:nvPr userDrawn="1"/>
        </p:nvCxnSpPr>
        <p:spPr>
          <a:xfrm flipV="1">
            <a:off x="2519221" y="1464902"/>
            <a:ext cx="1" cy="2461191"/>
          </a:xfrm>
          <a:prstGeom prst="line">
            <a:avLst/>
          </a:prstGeom>
          <a:ln w="9525" cap="flat" cmpd="sng">
            <a:solidFill>
              <a:schemeClr val="accent5"/>
            </a:solidFill>
            <a:prstDash val="solid"/>
            <a:round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7" name="Gerade Verbindung 66"/>
          <p:cNvCxnSpPr/>
          <p:nvPr userDrawn="1"/>
        </p:nvCxnSpPr>
        <p:spPr>
          <a:xfrm flipV="1">
            <a:off x="670014" y="1464902"/>
            <a:ext cx="1" cy="2461191"/>
          </a:xfrm>
          <a:prstGeom prst="line">
            <a:avLst/>
          </a:prstGeom>
          <a:ln w="9525" cap="flat" cmpd="sng">
            <a:solidFill>
              <a:schemeClr val="accent5"/>
            </a:solidFill>
            <a:prstDash val="solid"/>
            <a:round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8" name="Gerade Verbindung 67"/>
          <p:cNvCxnSpPr/>
          <p:nvPr userDrawn="1"/>
        </p:nvCxnSpPr>
        <p:spPr>
          <a:xfrm flipV="1">
            <a:off x="4372870" y="1464902"/>
            <a:ext cx="1" cy="2461191"/>
          </a:xfrm>
          <a:prstGeom prst="line">
            <a:avLst/>
          </a:prstGeom>
          <a:ln w="9525" cap="flat" cmpd="sng">
            <a:solidFill>
              <a:schemeClr val="accent5"/>
            </a:solidFill>
            <a:prstDash val="solid"/>
            <a:round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9" name="Gerade Verbindung 68"/>
          <p:cNvCxnSpPr/>
          <p:nvPr userDrawn="1"/>
        </p:nvCxnSpPr>
        <p:spPr>
          <a:xfrm flipV="1">
            <a:off x="6222549" y="1464902"/>
            <a:ext cx="1" cy="2461191"/>
          </a:xfrm>
          <a:prstGeom prst="line">
            <a:avLst/>
          </a:prstGeom>
          <a:ln w="9525" cap="flat" cmpd="sng">
            <a:solidFill>
              <a:schemeClr val="accent5"/>
            </a:solidFill>
            <a:prstDash val="solid"/>
            <a:round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0" name="Gerade Verbindung 69"/>
          <p:cNvCxnSpPr/>
          <p:nvPr userDrawn="1"/>
        </p:nvCxnSpPr>
        <p:spPr>
          <a:xfrm flipV="1">
            <a:off x="8073490" y="1464902"/>
            <a:ext cx="1" cy="2461191"/>
          </a:xfrm>
          <a:prstGeom prst="line">
            <a:avLst/>
          </a:prstGeom>
          <a:ln w="9525" cap="flat" cmpd="sng">
            <a:solidFill>
              <a:schemeClr val="accent5"/>
            </a:solidFill>
            <a:prstDash val="solid"/>
            <a:round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1" name="Gerade Verbindung 70"/>
          <p:cNvCxnSpPr/>
          <p:nvPr userDrawn="1"/>
        </p:nvCxnSpPr>
        <p:spPr>
          <a:xfrm flipV="1">
            <a:off x="9925790" y="1464902"/>
            <a:ext cx="1" cy="2461191"/>
          </a:xfrm>
          <a:prstGeom prst="line">
            <a:avLst/>
          </a:prstGeom>
          <a:ln w="9525" cap="flat" cmpd="sng">
            <a:solidFill>
              <a:schemeClr val="accent5"/>
            </a:solidFill>
            <a:prstDash val="solid"/>
            <a:round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2" name="Gerade Verbindung 71"/>
          <p:cNvCxnSpPr/>
          <p:nvPr userDrawn="1"/>
        </p:nvCxnSpPr>
        <p:spPr>
          <a:xfrm flipV="1">
            <a:off x="1597233" y="3566092"/>
            <a:ext cx="3973" cy="2346739"/>
          </a:xfrm>
          <a:prstGeom prst="line">
            <a:avLst/>
          </a:prstGeom>
          <a:ln w="9525" cap="flat" cmpd="sng">
            <a:solidFill>
              <a:schemeClr val="accent5"/>
            </a:solidFill>
            <a:prstDash val="solid"/>
            <a:round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3" name="Gerade Verbindung 72"/>
          <p:cNvCxnSpPr/>
          <p:nvPr userDrawn="1"/>
        </p:nvCxnSpPr>
        <p:spPr>
          <a:xfrm flipV="1">
            <a:off x="3448426" y="3566092"/>
            <a:ext cx="3973" cy="2346739"/>
          </a:xfrm>
          <a:prstGeom prst="line">
            <a:avLst/>
          </a:prstGeom>
          <a:ln w="9525" cap="flat" cmpd="sng">
            <a:solidFill>
              <a:schemeClr val="accent5"/>
            </a:solidFill>
            <a:prstDash val="solid"/>
            <a:round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4" name="Gerade Verbindung 73"/>
          <p:cNvCxnSpPr/>
          <p:nvPr userDrawn="1"/>
        </p:nvCxnSpPr>
        <p:spPr>
          <a:xfrm flipV="1">
            <a:off x="5291827" y="3566092"/>
            <a:ext cx="3973" cy="2346739"/>
          </a:xfrm>
          <a:prstGeom prst="line">
            <a:avLst/>
          </a:prstGeom>
          <a:ln w="9525" cap="flat" cmpd="sng">
            <a:solidFill>
              <a:schemeClr val="accent5"/>
            </a:solidFill>
            <a:prstDash val="solid"/>
            <a:round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75"/>
          <p:cNvCxnSpPr/>
          <p:nvPr userDrawn="1"/>
        </p:nvCxnSpPr>
        <p:spPr>
          <a:xfrm flipV="1">
            <a:off x="7146594" y="3566092"/>
            <a:ext cx="3973" cy="2346739"/>
          </a:xfrm>
          <a:prstGeom prst="line">
            <a:avLst/>
          </a:prstGeom>
          <a:ln w="9525" cap="flat" cmpd="sng">
            <a:solidFill>
              <a:schemeClr val="accent5"/>
            </a:solidFill>
            <a:prstDash val="solid"/>
            <a:round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76"/>
          <p:cNvCxnSpPr/>
          <p:nvPr userDrawn="1"/>
        </p:nvCxnSpPr>
        <p:spPr>
          <a:xfrm flipV="1">
            <a:off x="8998624" y="3566092"/>
            <a:ext cx="3973" cy="2346739"/>
          </a:xfrm>
          <a:prstGeom prst="line">
            <a:avLst/>
          </a:prstGeom>
          <a:ln w="9525" cap="flat" cmpd="sng">
            <a:solidFill>
              <a:schemeClr val="accent5"/>
            </a:solidFill>
            <a:prstDash val="solid"/>
            <a:round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8" name="Gerade Verbindung 77"/>
          <p:cNvCxnSpPr/>
          <p:nvPr userDrawn="1"/>
        </p:nvCxnSpPr>
        <p:spPr>
          <a:xfrm flipV="1">
            <a:off x="10852847" y="3566092"/>
            <a:ext cx="3973" cy="2346739"/>
          </a:xfrm>
          <a:prstGeom prst="line">
            <a:avLst/>
          </a:prstGeom>
          <a:ln w="9525" cap="flat" cmpd="sng">
            <a:solidFill>
              <a:schemeClr val="accent5"/>
            </a:solidFill>
            <a:prstDash val="solid"/>
            <a:round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2" name="Fußzeilenplatzhalter 2"/>
          <p:cNvSpPr>
            <a:spLocks noGrp="1"/>
          </p:cNvSpPr>
          <p:nvPr>
            <p:ph type="ftr" sz="quarter" idx="3"/>
          </p:nvPr>
        </p:nvSpPr>
        <p:spPr>
          <a:xfrm>
            <a:off x="4122537" y="6192000"/>
            <a:ext cx="7380962" cy="66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6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Ringvorlesung – Digitale Transformation bei Schmitz Cargobull</a:t>
            </a:r>
          </a:p>
        </p:txBody>
      </p:sp>
      <p:sp>
        <p:nvSpPr>
          <p:cNvPr id="43" name="Datumsplatzhalter 4"/>
          <p:cNvSpPr>
            <a:spLocks noGrp="1"/>
          </p:cNvSpPr>
          <p:nvPr>
            <p:ph type="dt" sz="half" idx="2"/>
          </p:nvPr>
        </p:nvSpPr>
        <p:spPr>
          <a:xfrm>
            <a:off x="2520328" y="6191559"/>
            <a:ext cx="1602209" cy="66644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6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17.01.2019</a:t>
            </a:r>
          </a:p>
        </p:txBody>
      </p:sp>
    </p:spTree>
    <p:extLst>
      <p:ext uri="{BB962C8B-B14F-4D97-AF65-F5344CB8AC3E}">
        <p14:creationId xmlns:p14="http://schemas.microsoft.com/office/powerpoint/2010/main" val="338367230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Nummer 1">
            <a:extLst>
              <a:ext uri="{FF2B5EF4-FFF2-40B4-BE49-F238E27FC236}">
                <a16:creationId xmlns:a16="http://schemas.microsoft.com/office/drawing/2014/main" id="{A26DDBC4-9C20-4E6B-B71C-1F327D2F015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40000" y="1512000"/>
            <a:ext cx="540000" cy="540000"/>
          </a:xfrm>
          <a:noFill/>
          <a:ln w="190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FontTx/>
              <a:buNone/>
              <a:defRPr lang="de-DE" sz="200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lang="de-DE" sz="180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lang="de-DE" sz="180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lang="de-DE" sz="180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lang="de-DE"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marL="0" lvl="0" algn="ctr"/>
            <a:r>
              <a:rPr lang="de-DE" err="1"/>
              <a:t>Nr</a:t>
            </a:r>
            <a:endParaRPr lang="de-DE"/>
          </a:p>
        </p:txBody>
      </p:sp>
      <p:sp>
        <p:nvSpPr>
          <p:cNvPr id="76" name="Nummer 2">
            <a:extLst>
              <a:ext uri="{FF2B5EF4-FFF2-40B4-BE49-F238E27FC236}">
                <a16:creationId xmlns:a16="http://schemas.microsoft.com/office/drawing/2014/main" id="{0C4242DF-BC2A-4EB4-B3A6-19C8CB152F3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40000" y="2271000"/>
            <a:ext cx="540000" cy="540000"/>
          </a:xfrm>
          <a:noFill/>
          <a:ln w="190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200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de-DE" err="1"/>
              <a:t>Nr</a:t>
            </a:r>
            <a:endParaRPr lang="de-DE"/>
          </a:p>
        </p:txBody>
      </p:sp>
      <p:sp>
        <p:nvSpPr>
          <p:cNvPr id="77" name="Nummer 3">
            <a:extLst>
              <a:ext uri="{FF2B5EF4-FFF2-40B4-BE49-F238E27FC236}">
                <a16:creationId xmlns:a16="http://schemas.microsoft.com/office/drawing/2014/main" id="{8ADA73E5-C264-4E66-87A2-C5030B53A08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540000" y="3030000"/>
            <a:ext cx="540000" cy="540000"/>
          </a:xfrm>
          <a:noFill/>
          <a:ln w="190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FontTx/>
              <a:buNone/>
              <a:defRPr lang="de-DE" sz="200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lang="de-DE" sz="180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lang="de-DE" sz="180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lang="de-DE" sz="180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lang="de-DE"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marL="0" lvl="0" algn="ctr"/>
            <a:r>
              <a:rPr lang="de-DE" err="1"/>
              <a:t>Nr</a:t>
            </a:r>
            <a:endParaRPr lang="de-DE"/>
          </a:p>
        </p:txBody>
      </p:sp>
      <p:sp>
        <p:nvSpPr>
          <p:cNvPr id="78" name="Nummer 4">
            <a:extLst>
              <a:ext uri="{FF2B5EF4-FFF2-40B4-BE49-F238E27FC236}">
                <a16:creationId xmlns:a16="http://schemas.microsoft.com/office/drawing/2014/main" id="{B89E1088-E080-4C37-B99E-CE3F2EDD8F3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540000" y="3789000"/>
            <a:ext cx="540000" cy="540000"/>
          </a:xfrm>
          <a:noFill/>
          <a:ln w="190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FontTx/>
              <a:buNone/>
              <a:defRPr lang="de-DE" sz="200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lang="de-DE" sz="180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lang="de-DE" sz="180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lang="de-DE" sz="180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lang="de-DE"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marL="0" lvl="0" algn="ctr"/>
            <a:r>
              <a:rPr lang="de-DE" err="1"/>
              <a:t>Nr</a:t>
            </a:r>
            <a:endParaRPr lang="de-DE"/>
          </a:p>
        </p:txBody>
      </p:sp>
      <p:sp>
        <p:nvSpPr>
          <p:cNvPr id="79" name="Nummer 5">
            <a:extLst>
              <a:ext uri="{FF2B5EF4-FFF2-40B4-BE49-F238E27FC236}">
                <a16:creationId xmlns:a16="http://schemas.microsoft.com/office/drawing/2014/main" id="{D47B69A8-1EE0-4D59-91D5-578BE28C50A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40000" y="4548000"/>
            <a:ext cx="540000" cy="540000"/>
          </a:xfrm>
          <a:noFill/>
          <a:ln w="190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FontTx/>
              <a:buNone/>
              <a:defRPr lang="de-DE" sz="200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lang="de-DE" sz="180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lang="de-DE" sz="180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lang="de-DE" sz="180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lang="de-DE"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marL="0" lvl="0" algn="ctr"/>
            <a:r>
              <a:rPr lang="de-DE" err="1"/>
              <a:t>Nr</a:t>
            </a:r>
            <a:endParaRPr lang="de-DE"/>
          </a:p>
        </p:txBody>
      </p:sp>
      <p:sp>
        <p:nvSpPr>
          <p:cNvPr id="94" name="Nummer 6">
            <a:extLst>
              <a:ext uri="{FF2B5EF4-FFF2-40B4-BE49-F238E27FC236}">
                <a16:creationId xmlns:a16="http://schemas.microsoft.com/office/drawing/2014/main" id="{A8E6BAA4-2BD2-4538-A684-BB0FF3D4A51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6670800" y="1512000"/>
            <a:ext cx="540000" cy="540000"/>
          </a:xfrm>
          <a:noFill/>
          <a:ln w="190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FontTx/>
              <a:buNone/>
              <a:defRPr lang="de-DE" sz="200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lang="de-DE" sz="180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lang="de-DE" sz="180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lang="de-DE" sz="180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lang="de-DE"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marL="0" lvl="0" algn="ctr"/>
            <a:r>
              <a:rPr lang="de-DE" err="1"/>
              <a:t>Nr</a:t>
            </a:r>
            <a:endParaRPr lang="de-DE"/>
          </a:p>
        </p:txBody>
      </p:sp>
      <p:sp>
        <p:nvSpPr>
          <p:cNvPr id="95" name="Nummer 7">
            <a:extLst>
              <a:ext uri="{FF2B5EF4-FFF2-40B4-BE49-F238E27FC236}">
                <a16:creationId xmlns:a16="http://schemas.microsoft.com/office/drawing/2014/main" id="{717A8CBD-7399-47C7-89ED-661C9665CD4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6670800" y="2271000"/>
            <a:ext cx="540000" cy="540000"/>
          </a:xfrm>
          <a:noFill/>
          <a:ln w="190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200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de-DE" err="1"/>
              <a:t>Nr</a:t>
            </a:r>
            <a:endParaRPr lang="de-DE"/>
          </a:p>
        </p:txBody>
      </p:sp>
      <p:sp>
        <p:nvSpPr>
          <p:cNvPr id="96" name="Nummer 8">
            <a:extLst>
              <a:ext uri="{FF2B5EF4-FFF2-40B4-BE49-F238E27FC236}">
                <a16:creationId xmlns:a16="http://schemas.microsoft.com/office/drawing/2014/main" id="{5559074D-33D4-4E91-83C9-2AC0288B272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6670800" y="3030000"/>
            <a:ext cx="540000" cy="540000"/>
          </a:xfrm>
          <a:noFill/>
          <a:ln w="190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FontTx/>
              <a:buNone/>
              <a:defRPr lang="de-DE" sz="200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lang="de-DE" sz="180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lang="de-DE" sz="180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lang="de-DE" sz="180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lang="de-DE"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marL="0" lvl="0" algn="ctr"/>
            <a:r>
              <a:rPr lang="de-DE" err="1"/>
              <a:t>Nr</a:t>
            </a:r>
            <a:endParaRPr lang="de-DE"/>
          </a:p>
        </p:txBody>
      </p:sp>
      <p:sp>
        <p:nvSpPr>
          <p:cNvPr id="97" name="Nummer 9">
            <a:extLst>
              <a:ext uri="{FF2B5EF4-FFF2-40B4-BE49-F238E27FC236}">
                <a16:creationId xmlns:a16="http://schemas.microsoft.com/office/drawing/2014/main" id="{B6F9563A-9268-48BC-9FB3-3B333A50B83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6670800" y="3789000"/>
            <a:ext cx="540000" cy="540000"/>
          </a:xfrm>
          <a:noFill/>
          <a:ln w="190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FontTx/>
              <a:buNone/>
              <a:defRPr lang="de-DE" sz="200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lang="de-DE" sz="180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lang="de-DE" sz="180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lang="de-DE" sz="180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lang="de-DE"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marL="0" lvl="0" algn="ctr"/>
            <a:r>
              <a:rPr lang="de-DE" err="1"/>
              <a:t>Nr</a:t>
            </a:r>
            <a:endParaRPr lang="de-DE"/>
          </a:p>
        </p:txBody>
      </p:sp>
      <p:sp>
        <p:nvSpPr>
          <p:cNvPr id="98" name="Nummer 10">
            <a:extLst>
              <a:ext uri="{FF2B5EF4-FFF2-40B4-BE49-F238E27FC236}">
                <a16:creationId xmlns:a16="http://schemas.microsoft.com/office/drawing/2014/main" id="{E0EC51E7-AB06-4BD1-8739-9CA483BC5D6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6670800" y="4548000"/>
            <a:ext cx="540000" cy="540000"/>
          </a:xfrm>
          <a:noFill/>
          <a:ln w="190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FontTx/>
              <a:buNone/>
              <a:defRPr lang="de-DE" sz="200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lang="de-DE" sz="180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lang="de-DE" sz="180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lang="de-DE" sz="180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lang="de-DE"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marL="0" lvl="0" algn="ctr"/>
            <a:r>
              <a:rPr lang="de-DE" err="1"/>
              <a:t>Nr</a:t>
            </a:r>
            <a:endParaRPr lang="de-DE"/>
          </a:p>
        </p:txBody>
      </p:sp>
      <p:sp>
        <p:nvSpPr>
          <p:cNvPr id="73" name="Textplatzhalter 1">
            <a:extLst>
              <a:ext uri="{FF2B5EF4-FFF2-40B4-BE49-F238E27FC236}">
                <a16:creationId xmlns:a16="http://schemas.microsoft.com/office/drawing/2014/main" id="{56E6A1DB-9574-405D-A069-F15ED0E7990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1080000" y="1512000"/>
            <a:ext cx="4438800" cy="540000"/>
          </a:xfrm>
          <a:noFill/>
        </p:spPr>
        <p:txBody>
          <a:bodyPr wrap="square" lIns="180000" tIns="72000" rIns="180000" bIns="72000" rtlCol="0" anchor="ctr" anchorCtr="0">
            <a:noAutofit/>
          </a:bodyPr>
          <a:lstStyle>
            <a:lvl1pPr marL="0" indent="0">
              <a:buNone/>
              <a:def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marL="0" lvl="0"/>
            <a:r>
              <a:rPr lang="de-DE"/>
              <a:t>Mastertextformat bearbeiten</a:t>
            </a:r>
          </a:p>
        </p:txBody>
      </p:sp>
      <p:sp>
        <p:nvSpPr>
          <p:cNvPr id="80" name="Textplatzhalter 2">
            <a:extLst>
              <a:ext uri="{FF2B5EF4-FFF2-40B4-BE49-F238E27FC236}">
                <a16:creationId xmlns:a16="http://schemas.microsoft.com/office/drawing/2014/main" id="{D04A21F4-B60F-4C42-ACEE-6D879C9D178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>
          <a:xfrm>
            <a:off x="1080000" y="2271000"/>
            <a:ext cx="4438800" cy="540000"/>
          </a:xfrm>
          <a:noFill/>
        </p:spPr>
        <p:txBody>
          <a:bodyPr vert="horz" wrap="square" lIns="180000" tIns="72000" rIns="180000" bIns="72000" rtlCol="0" anchor="ctr" anchorCtr="0">
            <a:noAutofit/>
          </a:bodyPr>
          <a:lstStyle>
            <a:lvl1pPr>
              <a:def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</p:txBody>
      </p:sp>
      <p:sp>
        <p:nvSpPr>
          <p:cNvPr id="81" name="Textplatzhalter 3">
            <a:extLst>
              <a:ext uri="{FF2B5EF4-FFF2-40B4-BE49-F238E27FC236}">
                <a16:creationId xmlns:a16="http://schemas.microsoft.com/office/drawing/2014/main" id="{8C01DEEF-782C-46F8-9A69-3B27231A596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1080000" y="3030000"/>
            <a:ext cx="4438800" cy="540000"/>
          </a:xfrm>
          <a:noFill/>
        </p:spPr>
        <p:txBody>
          <a:bodyPr wrap="square" lIns="180000" tIns="72000" rIns="180000" bIns="72000" rtlCol="0" anchor="ctr" anchorCtr="0">
            <a:noAutofit/>
          </a:bodyPr>
          <a:lstStyle>
            <a:lvl1pPr marL="0" indent="0">
              <a:buNone/>
              <a:def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marL="0" lvl="0"/>
            <a:r>
              <a:rPr lang="de-DE"/>
              <a:t>Mastertextformat bearbeiten</a:t>
            </a:r>
          </a:p>
        </p:txBody>
      </p:sp>
      <p:sp>
        <p:nvSpPr>
          <p:cNvPr id="82" name="Textplatzhalter 4">
            <a:extLst>
              <a:ext uri="{FF2B5EF4-FFF2-40B4-BE49-F238E27FC236}">
                <a16:creationId xmlns:a16="http://schemas.microsoft.com/office/drawing/2014/main" id="{339CC5F7-5028-462E-9D73-7A176DBB82A5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>
          <a:xfrm>
            <a:off x="1080000" y="3789000"/>
            <a:ext cx="4438800" cy="540000"/>
          </a:xfrm>
          <a:noFill/>
        </p:spPr>
        <p:txBody>
          <a:bodyPr wrap="square" lIns="180000" tIns="72000" rIns="180000" bIns="72000" rtlCol="0" anchor="ctr" anchorCtr="0">
            <a:noAutofit/>
          </a:bodyPr>
          <a:lstStyle>
            <a:lvl1pPr marL="0" indent="0">
              <a:buNone/>
              <a:def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marL="0" lvl="0"/>
            <a:r>
              <a:rPr lang="de-DE"/>
              <a:t>Mastertextformat bearbeiten</a:t>
            </a:r>
          </a:p>
        </p:txBody>
      </p:sp>
      <p:sp>
        <p:nvSpPr>
          <p:cNvPr id="83" name="Textplatzhalter 5">
            <a:extLst>
              <a:ext uri="{FF2B5EF4-FFF2-40B4-BE49-F238E27FC236}">
                <a16:creationId xmlns:a16="http://schemas.microsoft.com/office/drawing/2014/main" id="{5963765C-1B30-43D1-84C1-5F69F1466A3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>
          <a:xfrm>
            <a:off x="1080000" y="4548000"/>
            <a:ext cx="4438800" cy="540000"/>
          </a:xfrm>
          <a:noFill/>
        </p:spPr>
        <p:txBody>
          <a:bodyPr wrap="square" lIns="180000" tIns="72000" rIns="180000" bIns="72000" rtlCol="0" anchor="ctr" anchorCtr="0">
            <a:noAutofit/>
          </a:bodyPr>
          <a:lstStyle>
            <a:lvl1pPr marL="0" indent="0">
              <a:buNone/>
              <a:def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marL="0" lvl="0"/>
            <a:r>
              <a:rPr lang="de-DE"/>
              <a:t>Mastertextformat bearbeiten</a:t>
            </a:r>
          </a:p>
        </p:txBody>
      </p:sp>
      <p:sp>
        <p:nvSpPr>
          <p:cNvPr id="89" name="Textplatzhalter 6">
            <a:extLst>
              <a:ext uri="{FF2B5EF4-FFF2-40B4-BE49-F238E27FC236}">
                <a16:creationId xmlns:a16="http://schemas.microsoft.com/office/drawing/2014/main" id="{584721AF-0893-4EFA-A1C9-6191DC9C3C1A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>
          <a:xfrm>
            <a:off x="7210800" y="1512000"/>
            <a:ext cx="4438800" cy="540000"/>
          </a:xfrm>
          <a:noFill/>
        </p:spPr>
        <p:txBody>
          <a:bodyPr wrap="square" lIns="180000" tIns="72000" rIns="180000" bIns="72000" rtlCol="0" anchor="ctr" anchorCtr="0">
            <a:noAutofit/>
          </a:bodyPr>
          <a:lstStyle>
            <a:lvl1pPr marL="0" indent="0">
              <a:buNone/>
              <a:def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marL="0" lvl="0"/>
            <a:r>
              <a:rPr lang="de-DE"/>
              <a:t>Mastertextformat bearbeiten</a:t>
            </a:r>
          </a:p>
        </p:txBody>
      </p:sp>
      <p:sp>
        <p:nvSpPr>
          <p:cNvPr id="90" name="Textplatzhalter 7">
            <a:extLst>
              <a:ext uri="{FF2B5EF4-FFF2-40B4-BE49-F238E27FC236}">
                <a16:creationId xmlns:a16="http://schemas.microsoft.com/office/drawing/2014/main" id="{4EF5090D-814A-4337-AEDF-D2BBC546E857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>
          <a:xfrm>
            <a:off x="7210800" y="2271000"/>
            <a:ext cx="4438800" cy="540000"/>
          </a:xfrm>
          <a:noFill/>
        </p:spPr>
        <p:txBody>
          <a:bodyPr vert="horz" wrap="square" lIns="180000" tIns="72000" rIns="180000" bIns="72000" rtlCol="0" anchor="ctr" anchorCtr="0">
            <a:noAutofit/>
          </a:bodyPr>
          <a:lstStyle>
            <a:lvl1pPr>
              <a:def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</p:txBody>
      </p:sp>
      <p:sp>
        <p:nvSpPr>
          <p:cNvPr id="91" name="Textplatzhalter 8">
            <a:extLst>
              <a:ext uri="{FF2B5EF4-FFF2-40B4-BE49-F238E27FC236}">
                <a16:creationId xmlns:a16="http://schemas.microsoft.com/office/drawing/2014/main" id="{CF8C08C0-E4C2-4FA0-8521-586CFB83A96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 bwMode="gray">
          <a:xfrm>
            <a:off x="7210800" y="3030000"/>
            <a:ext cx="4438800" cy="540000"/>
          </a:xfrm>
          <a:noFill/>
        </p:spPr>
        <p:txBody>
          <a:bodyPr wrap="square" lIns="180000" tIns="72000" rIns="180000" bIns="72000" rtlCol="0" anchor="ctr" anchorCtr="0">
            <a:noAutofit/>
          </a:bodyPr>
          <a:lstStyle>
            <a:lvl1pPr marL="0" indent="0">
              <a:buNone/>
              <a:def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marL="0" lvl="0"/>
            <a:r>
              <a:rPr lang="de-DE"/>
              <a:t>Mastertextformat bearbeiten</a:t>
            </a:r>
          </a:p>
        </p:txBody>
      </p:sp>
      <p:sp>
        <p:nvSpPr>
          <p:cNvPr id="92" name="Textplatzhalter 9">
            <a:extLst>
              <a:ext uri="{FF2B5EF4-FFF2-40B4-BE49-F238E27FC236}">
                <a16:creationId xmlns:a16="http://schemas.microsoft.com/office/drawing/2014/main" id="{CEA017C7-499E-44C4-A634-B602AF0F31CF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 bwMode="gray">
          <a:xfrm>
            <a:off x="7210800" y="3789000"/>
            <a:ext cx="4438800" cy="540000"/>
          </a:xfrm>
          <a:noFill/>
        </p:spPr>
        <p:txBody>
          <a:bodyPr wrap="square" lIns="180000" tIns="72000" rIns="180000" bIns="72000" rtlCol="0" anchor="ctr" anchorCtr="0">
            <a:noAutofit/>
          </a:bodyPr>
          <a:lstStyle>
            <a:lvl1pPr marL="0" indent="0">
              <a:buNone/>
              <a:def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marL="0" lvl="0"/>
            <a:r>
              <a:rPr lang="de-DE"/>
              <a:t>Mastertextformat bearbeiten</a:t>
            </a:r>
          </a:p>
        </p:txBody>
      </p:sp>
      <p:sp>
        <p:nvSpPr>
          <p:cNvPr id="93" name="Textplatzhalter 10">
            <a:extLst>
              <a:ext uri="{FF2B5EF4-FFF2-40B4-BE49-F238E27FC236}">
                <a16:creationId xmlns:a16="http://schemas.microsoft.com/office/drawing/2014/main" id="{5E70294D-C9D5-48BF-B802-434B6623AE9B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 bwMode="gray">
          <a:xfrm>
            <a:off x="7210800" y="4548000"/>
            <a:ext cx="4438800" cy="540000"/>
          </a:xfrm>
          <a:noFill/>
        </p:spPr>
        <p:txBody>
          <a:bodyPr wrap="square" lIns="180000" tIns="72000" rIns="180000" bIns="72000" rtlCol="0" anchor="ctr" anchorCtr="0">
            <a:noAutofit/>
          </a:bodyPr>
          <a:lstStyle>
            <a:lvl1pPr marL="0" indent="0">
              <a:buNone/>
              <a:def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marL="0" lvl="0"/>
            <a:r>
              <a:rPr lang="de-DE"/>
              <a:t>Mastertextformat bearbeiten</a:t>
            </a:r>
          </a:p>
        </p:txBody>
      </p:sp>
      <p:sp>
        <p:nvSpPr>
          <p:cNvPr id="132" name="Titel">
            <a:extLst>
              <a:ext uri="{FF2B5EF4-FFF2-40B4-BE49-F238E27FC236}">
                <a16:creationId xmlns:a16="http://schemas.microsoft.com/office/drawing/2014/main" id="{CB42B6B2-9667-49D8-9EEC-8C74827A05AE}"/>
              </a:ext>
            </a:extLst>
          </p:cNvPr>
          <p:cNvSpPr>
            <a:spLocks noGrp="1"/>
          </p:cNvSpPr>
          <p:nvPr userDrawn="1">
            <p:ph type="title"/>
          </p:nvPr>
        </p:nvSpPr>
        <p:spPr bwMode="gray">
          <a:xfrm>
            <a:off x="540000" y="432000"/>
            <a:ext cx="11109600" cy="900000"/>
          </a:xfrm>
        </p:spPr>
        <p:txBody>
          <a:bodyPr/>
          <a:lstStyle>
            <a:lvl1pPr>
              <a:defRPr cap="none" baseline="0"/>
            </a:lvl1pPr>
          </a:lstStyle>
          <a:p>
            <a:r>
              <a:rPr lang="de-DE" noProof="0"/>
              <a:t>Titelmasterformat durch Klicken bearbeiten</a:t>
            </a:r>
          </a:p>
        </p:txBody>
      </p:sp>
      <p:cxnSp>
        <p:nvCxnSpPr>
          <p:cNvPr id="194" name="Gerader Verbinder 193">
            <a:extLst>
              <a:ext uri="{FF2B5EF4-FFF2-40B4-BE49-F238E27FC236}">
                <a16:creationId xmlns:a16="http://schemas.microsoft.com/office/drawing/2014/main" id="{674DA150-0EBC-4E7C-B23D-D53D6999001C}"/>
              </a:ext>
            </a:extLst>
          </p:cNvPr>
          <p:cNvCxnSpPr/>
          <p:nvPr userDrawn="1"/>
        </p:nvCxnSpPr>
        <p:spPr bwMode="gray">
          <a:xfrm>
            <a:off x="1080000" y="6354000"/>
            <a:ext cx="0" cy="216000"/>
          </a:xfrm>
          <a:prstGeom prst="line">
            <a:avLst/>
          </a:prstGeom>
          <a:ln w="12700" cap="flat">
            <a:solidFill>
              <a:schemeClr val="accent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5" name="Foliennummernplatzhalter">
            <a:extLst>
              <a:ext uri="{FF2B5EF4-FFF2-40B4-BE49-F238E27FC236}">
                <a16:creationId xmlns:a16="http://schemas.microsoft.com/office/drawing/2014/main" id="{35D69A62-4598-42E5-A4BA-BB1290606BB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40000" y="6318000"/>
            <a:ext cx="360000" cy="288000"/>
          </a:xfrm>
          <a:prstGeom prst="rect">
            <a:avLst/>
          </a:prstGeom>
          <a:ln w="12700" cap="sq">
            <a:noFill/>
            <a:miter lim="800000"/>
          </a:ln>
        </p:spPr>
        <p:txBody>
          <a:bodyPr vert="horz" lIns="0" tIns="0" rIns="0" bIns="0" rtlCol="0" anchor="ctr" anchorCtr="0"/>
          <a:lstStyle>
            <a:lvl1pPr>
              <a:defRPr lang="de-DE" sz="1600" smtClean="0">
                <a:solidFill>
                  <a:schemeClr val="accent1"/>
                </a:solidFill>
              </a:defRPr>
            </a:lvl1pPr>
          </a:lstStyle>
          <a:p>
            <a:fld id="{B36614E7-DD24-4A03-99F5-3A9F8BBCCC0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96" name="Fußzeile">
            <a:extLst>
              <a:ext uri="{FF2B5EF4-FFF2-40B4-BE49-F238E27FC236}">
                <a16:creationId xmlns:a16="http://schemas.microsoft.com/office/drawing/2014/main" id="{63662028-6EC9-403F-8012-38D63C3070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1260000" y="6318000"/>
            <a:ext cx="4832138" cy="288000"/>
          </a:xfrm>
          <a:prstGeom prst="rect">
            <a:avLst/>
          </a:prstGeom>
        </p:spPr>
        <p:txBody>
          <a:bodyPr vert="horz" lIns="108000" tIns="0" rIns="0" bIns="0" rtlCol="0" anchor="ctr" anchorCtr="0"/>
          <a:lstStyle>
            <a:lvl1pPr algn="l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e-DE"/>
              <a:t>© Fraunhofer IEM / Heinz Nixdorf Institut</a:t>
            </a:r>
          </a:p>
        </p:txBody>
      </p:sp>
      <p:sp>
        <p:nvSpPr>
          <p:cNvPr id="88" name="Nummer 5">
            <a:extLst>
              <a:ext uri="{FF2B5EF4-FFF2-40B4-BE49-F238E27FC236}">
                <a16:creationId xmlns:a16="http://schemas.microsoft.com/office/drawing/2014/main" id="{3CC79A7C-5362-45FE-9477-F13A572FE3A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540000" y="5307000"/>
            <a:ext cx="540000" cy="540000"/>
          </a:xfrm>
          <a:noFill/>
          <a:ln w="190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FontTx/>
              <a:buNone/>
              <a:defRPr lang="de-DE" sz="200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lang="de-DE" sz="180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lang="de-DE" sz="180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lang="de-DE" sz="180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lang="de-DE"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marL="0" lvl="0" algn="ctr"/>
            <a:r>
              <a:rPr lang="de-DE" err="1"/>
              <a:t>Nr</a:t>
            </a:r>
            <a:endParaRPr lang="de-DE"/>
          </a:p>
        </p:txBody>
      </p:sp>
      <p:sp>
        <p:nvSpPr>
          <p:cNvPr id="99" name="Nummer 10">
            <a:extLst>
              <a:ext uri="{FF2B5EF4-FFF2-40B4-BE49-F238E27FC236}">
                <a16:creationId xmlns:a16="http://schemas.microsoft.com/office/drawing/2014/main" id="{E91AD61C-E4C5-4DF0-9548-9BE2E89A6F4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6670800" y="5307000"/>
            <a:ext cx="540000" cy="540000"/>
          </a:xfrm>
          <a:noFill/>
          <a:ln w="190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FontTx/>
              <a:buNone/>
              <a:defRPr lang="de-DE" sz="200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lang="de-DE" sz="180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lang="de-DE" sz="180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lang="de-DE" sz="180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lang="de-DE"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marL="0" lvl="0" algn="ctr"/>
            <a:r>
              <a:rPr lang="de-DE" err="1"/>
              <a:t>Nr</a:t>
            </a:r>
            <a:endParaRPr lang="de-DE"/>
          </a:p>
        </p:txBody>
      </p:sp>
      <p:sp>
        <p:nvSpPr>
          <p:cNvPr id="100" name="Textplatzhalter 5">
            <a:extLst>
              <a:ext uri="{FF2B5EF4-FFF2-40B4-BE49-F238E27FC236}">
                <a16:creationId xmlns:a16="http://schemas.microsoft.com/office/drawing/2014/main" id="{D09C3CFC-B43B-4737-979F-6F417B7BC6D1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 bwMode="gray">
          <a:xfrm>
            <a:off x="1080000" y="5307000"/>
            <a:ext cx="4438800" cy="540000"/>
          </a:xfrm>
          <a:noFill/>
        </p:spPr>
        <p:txBody>
          <a:bodyPr wrap="square" lIns="180000" tIns="72000" rIns="180000" bIns="72000" rtlCol="0" anchor="ctr" anchorCtr="0">
            <a:noAutofit/>
          </a:bodyPr>
          <a:lstStyle>
            <a:lvl1pPr marL="0" indent="0">
              <a:buNone/>
              <a:def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marL="0" lvl="0"/>
            <a:r>
              <a:rPr lang="de-DE"/>
              <a:t>Mastertextformat bearbeiten</a:t>
            </a:r>
          </a:p>
        </p:txBody>
      </p:sp>
      <p:sp>
        <p:nvSpPr>
          <p:cNvPr id="101" name="Textplatzhalter 10">
            <a:extLst>
              <a:ext uri="{FF2B5EF4-FFF2-40B4-BE49-F238E27FC236}">
                <a16:creationId xmlns:a16="http://schemas.microsoft.com/office/drawing/2014/main" id="{EC5348DD-C892-462C-B577-A442B7E8AC28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 bwMode="gray">
          <a:xfrm>
            <a:off x="7210800" y="5307000"/>
            <a:ext cx="4438800" cy="540000"/>
          </a:xfrm>
          <a:noFill/>
        </p:spPr>
        <p:txBody>
          <a:bodyPr wrap="square" lIns="180000" tIns="72000" rIns="180000" bIns="72000" rtlCol="0" anchor="ctr" anchorCtr="0">
            <a:noAutofit/>
          </a:bodyPr>
          <a:lstStyle>
            <a:lvl1pPr marL="0" indent="0">
              <a:buNone/>
              <a:def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marL="0" lvl="0"/>
            <a:r>
              <a:rPr lang="de-DE"/>
              <a:t>Mastertextformat bearbeiten</a:t>
            </a:r>
          </a:p>
        </p:txBody>
      </p:sp>
      <p:pic>
        <p:nvPicPr>
          <p:cNvPr id="32" name="Grafik 3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149" b="23187"/>
          <a:stretch/>
        </p:blipFill>
        <p:spPr>
          <a:xfrm>
            <a:off x="7121745" y="6275232"/>
            <a:ext cx="894495" cy="3952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1994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Diagramm 9"/>
          <p:cNvGraphicFramePr/>
          <p:nvPr userDrawn="1"/>
        </p:nvGraphicFramePr>
        <p:xfrm>
          <a:off x="1458191" y="651515"/>
          <a:ext cx="9376031" cy="552862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>
          <a:xfrm>
            <a:off x="2517558" y="651516"/>
            <a:ext cx="9002844" cy="661987"/>
          </a:xfrm>
        </p:spPr>
        <p:txBody>
          <a:bodyPr/>
          <a:lstStyle>
            <a:lvl1pPr>
              <a:defRPr baseline="0">
                <a:solidFill>
                  <a:srgbClr val="6F6F6F"/>
                </a:solidFill>
              </a:defRPr>
            </a:lvl1pPr>
          </a:lstStyle>
          <a:p>
            <a:r>
              <a:rPr lang="de-DE"/>
              <a:t>Kopiervorlage Balken 1 / </a:t>
            </a:r>
            <a:r>
              <a:rPr lang="de-DE" err="1"/>
              <a:t>copy</a:t>
            </a:r>
            <a:r>
              <a:rPr lang="de-DE"/>
              <a:t> </a:t>
            </a:r>
            <a:r>
              <a:rPr lang="de-DE" err="1"/>
              <a:t>sheet</a:t>
            </a:r>
            <a:r>
              <a:rPr lang="de-DE"/>
              <a:t> bar 1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idx="10" hasCustomPrompt="1"/>
          </p:nvPr>
        </p:nvSpPr>
        <p:spPr>
          <a:xfrm>
            <a:off x="649708" y="1624438"/>
            <a:ext cx="1842781" cy="344487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2266">
                <a:solidFill>
                  <a:schemeClr val="tx1"/>
                </a:solidFill>
              </a:defRPr>
            </a:lvl1pPr>
          </a:lstStyle>
          <a:p>
            <a:pPr lvl="0"/>
            <a:r>
              <a:rPr lang="de-DE" err="1"/>
              <a:t>Tutorial</a:t>
            </a:r>
            <a:endParaRPr lang="de-DE"/>
          </a:p>
        </p:txBody>
      </p:sp>
      <p:sp>
        <p:nvSpPr>
          <p:cNvPr id="9" name="Textfeld 8"/>
          <p:cNvSpPr txBox="1"/>
          <p:nvPr userDrawn="1"/>
        </p:nvSpPr>
        <p:spPr>
          <a:xfrm>
            <a:off x="502528" y="2274487"/>
            <a:ext cx="1759955" cy="3915619"/>
          </a:xfrm>
          <a:prstGeom prst="rect">
            <a:avLst/>
          </a:prstGeom>
          <a:noFill/>
        </p:spPr>
        <p:txBody>
          <a:bodyPr wrap="square" lIns="0" tIns="0" rIns="0" bIns="0" numCol="1" spcCol="191726" rtlCol="0">
            <a:noAutofit/>
          </a:bodyPr>
          <a:lstStyle/>
          <a:p>
            <a:pPr marL="171456" marR="0" lvl="0" indent="-171456" algn="l" defTabSz="1172037" rtl="0" eaLnBrk="1" fontAlgn="auto" latinLnBrk="0" hangingPunct="1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accent5"/>
              </a:buClr>
              <a:buSzPct val="100000"/>
              <a:buFont typeface="Arial"/>
              <a:buChar char="•"/>
              <a:tabLst/>
              <a:defRPr/>
            </a:pPr>
            <a:r>
              <a:rPr lang="de-DE" sz="1067">
                <a:solidFill>
                  <a:srgbClr val="6F6F6F"/>
                </a:solidFill>
              </a:rPr>
              <a:t>Alles markieren und in eine leere</a:t>
            </a:r>
            <a:r>
              <a:rPr lang="de-DE" sz="1067" baseline="0">
                <a:solidFill>
                  <a:srgbClr val="6F6F6F"/>
                </a:solidFill>
              </a:rPr>
              <a:t> </a:t>
            </a:r>
            <a:r>
              <a:rPr lang="de-DE" sz="1067">
                <a:solidFill>
                  <a:srgbClr val="6F6F6F"/>
                </a:solidFill>
              </a:rPr>
              <a:t>Präsentations-Seite kopieren. </a:t>
            </a:r>
            <a:r>
              <a:rPr lang="de-DE" sz="1067" i="1">
                <a:solidFill>
                  <a:srgbClr val="6F6F6F"/>
                </a:solidFill>
              </a:rPr>
              <a:t>Mark </a:t>
            </a:r>
            <a:r>
              <a:rPr lang="de-DE" sz="1067" i="1" err="1">
                <a:solidFill>
                  <a:srgbClr val="6F6F6F"/>
                </a:solidFill>
              </a:rPr>
              <a:t>everything</a:t>
            </a:r>
            <a:r>
              <a:rPr lang="de-DE" sz="1067" i="1">
                <a:solidFill>
                  <a:srgbClr val="6F6F6F"/>
                </a:solidFill>
              </a:rPr>
              <a:t> </a:t>
            </a:r>
            <a:r>
              <a:rPr lang="de-DE" sz="1067" i="1" err="1">
                <a:solidFill>
                  <a:srgbClr val="6F6F6F"/>
                </a:solidFill>
              </a:rPr>
              <a:t>and</a:t>
            </a:r>
            <a:r>
              <a:rPr lang="de-DE" sz="1067" i="1">
                <a:solidFill>
                  <a:srgbClr val="6F6F6F"/>
                </a:solidFill>
              </a:rPr>
              <a:t> </a:t>
            </a:r>
            <a:r>
              <a:rPr lang="de-DE" sz="1067" i="1" err="1">
                <a:solidFill>
                  <a:srgbClr val="6F6F6F"/>
                </a:solidFill>
              </a:rPr>
              <a:t>copy</a:t>
            </a:r>
            <a:r>
              <a:rPr lang="de-DE" sz="1067" i="1">
                <a:solidFill>
                  <a:srgbClr val="6F6F6F"/>
                </a:solidFill>
              </a:rPr>
              <a:t> </a:t>
            </a:r>
            <a:r>
              <a:rPr lang="de-DE" sz="1067" i="1" err="1">
                <a:solidFill>
                  <a:srgbClr val="6F6F6F"/>
                </a:solidFill>
              </a:rPr>
              <a:t>into</a:t>
            </a:r>
            <a:r>
              <a:rPr lang="de-DE" sz="1067" i="1">
                <a:solidFill>
                  <a:srgbClr val="6F6F6F"/>
                </a:solidFill>
              </a:rPr>
              <a:t> a </a:t>
            </a:r>
            <a:r>
              <a:rPr lang="de-DE" sz="1067" i="1" err="1">
                <a:solidFill>
                  <a:srgbClr val="6F6F6F"/>
                </a:solidFill>
              </a:rPr>
              <a:t>blanc</a:t>
            </a:r>
            <a:r>
              <a:rPr lang="de-DE" sz="1067" i="1">
                <a:solidFill>
                  <a:srgbClr val="6F6F6F"/>
                </a:solidFill>
              </a:rPr>
              <a:t> </a:t>
            </a:r>
            <a:r>
              <a:rPr lang="de-DE" sz="1067" i="1" err="1">
                <a:solidFill>
                  <a:srgbClr val="6F6F6F"/>
                </a:solidFill>
              </a:rPr>
              <a:t>presentation</a:t>
            </a:r>
            <a:r>
              <a:rPr lang="de-DE" sz="1067" i="1">
                <a:solidFill>
                  <a:srgbClr val="6F6F6F"/>
                </a:solidFill>
              </a:rPr>
              <a:t>-site</a:t>
            </a:r>
          </a:p>
          <a:p>
            <a:pPr marL="171456" lvl="0" indent="-171456">
              <a:buClr>
                <a:schemeClr val="accent5"/>
              </a:buClr>
              <a:buFont typeface="Arial"/>
              <a:buChar char="•"/>
            </a:pPr>
            <a:endParaRPr lang="de-DE" sz="1067">
              <a:solidFill>
                <a:srgbClr val="6F6F6F"/>
              </a:solidFill>
            </a:endParaRPr>
          </a:p>
          <a:p>
            <a:pPr marL="171456" marR="0" lvl="0" indent="-171456" algn="l" defTabSz="11720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Tx/>
              <a:buFont typeface="Arial"/>
              <a:buChar char="•"/>
              <a:tabLst/>
              <a:defRPr/>
            </a:pPr>
            <a:r>
              <a:rPr lang="de-DE" sz="1067">
                <a:solidFill>
                  <a:srgbClr val="6F6F6F"/>
                </a:solidFill>
              </a:rPr>
              <a:t>Rechtsklick auf Balken </a:t>
            </a:r>
            <a:br>
              <a:rPr lang="de-DE" sz="1067">
                <a:solidFill>
                  <a:srgbClr val="6F6F6F"/>
                </a:solidFill>
              </a:rPr>
            </a:br>
            <a:r>
              <a:rPr lang="de-DE" sz="1067">
                <a:solidFill>
                  <a:srgbClr val="6F6F6F"/>
                </a:solidFill>
              </a:rPr>
              <a:t>/ Daten bearbeiten.</a:t>
            </a:r>
            <a:r>
              <a:rPr lang="de-DE" sz="1067" baseline="0">
                <a:solidFill>
                  <a:srgbClr val="6F6F6F"/>
                </a:solidFill>
              </a:rPr>
              <a:t> </a:t>
            </a:r>
            <a:r>
              <a:rPr lang="de-DE" sz="1067" i="1" baseline="0" err="1">
                <a:solidFill>
                  <a:srgbClr val="6F6F6F"/>
                </a:solidFill>
              </a:rPr>
              <a:t>R</a:t>
            </a:r>
            <a:r>
              <a:rPr lang="de-DE" sz="1067" i="1" err="1">
                <a:solidFill>
                  <a:srgbClr val="6F6F6F"/>
                </a:solidFill>
              </a:rPr>
              <a:t>ight</a:t>
            </a:r>
            <a:r>
              <a:rPr lang="de-DE" sz="1067" i="1">
                <a:solidFill>
                  <a:srgbClr val="6F6F6F"/>
                </a:solidFill>
              </a:rPr>
              <a:t> klick </a:t>
            </a:r>
            <a:r>
              <a:rPr lang="de-DE" sz="1067" i="1" err="1">
                <a:solidFill>
                  <a:srgbClr val="6F6F6F"/>
                </a:solidFill>
              </a:rPr>
              <a:t>to</a:t>
            </a:r>
            <a:r>
              <a:rPr lang="de-DE" sz="1067" i="1">
                <a:solidFill>
                  <a:srgbClr val="6F6F6F"/>
                </a:solidFill>
              </a:rPr>
              <a:t> a bar </a:t>
            </a:r>
            <a:r>
              <a:rPr lang="de-DE" sz="1067" i="1" baseline="0">
                <a:solidFill>
                  <a:srgbClr val="6F6F6F"/>
                </a:solidFill>
              </a:rPr>
              <a:t>/ </a:t>
            </a:r>
            <a:r>
              <a:rPr lang="de-DE" sz="1067" i="1">
                <a:solidFill>
                  <a:srgbClr val="6F6F6F"/>
                </a:solidFill>
              </a:rPr>
              <a:t>Daten bearbeiten</a:t>
            </a:r>
          </a:p>
          <a:p>
            <a:pPr marL="171456" lvl="0" indent="-171456">
              <a:buClr>
                <a:schemeClr val="accent5"/>
              </a:buClr>
              <a:buFont typeface="Arial"/>
              <a:buChar char="•"/>
            </a:pPr>
            <a:endParaRPr lang="de-DE" sz="1067">
              <a:solidFill>
                <a:srgbClr val="6F6F6F"/>
              </a:solidFill>
            </a:endParaRPr>
          </a:p>
          <a:p>
            <a:pPr marL="171456" marR="0" lvl="0" indent="-171456" algn="l" defTabSz="11720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Tx/>
              <a:buFont typeface="Arial"/>
              <a:buChar char="•"/>
              <a:tabLst/>
              <a:defRPr/>
            </a:pPr>
            <a:r>
              <a:rPr lang="de-DE" sz="1067">
                <a:solidFill>
                  <a:srgbClr val="6F6F6F"/>
                </a:solidFill>
              </a:rPr>
              <a:t>Excel-Tabelle öffnet sich. Daten eintragen. </a:t>
            </a:r>
            <a:br>
              <a:rPr lang="de-DE" sz="1067">
                <a:solidFill>
                  <a:srgbClr val="6F6F6F"/>
                </a:solidFill>
              </a:rPr>
            </a:br>
            <a:r>
              <a:rPr lang="de-DE" sz="1067" i="1">
                <a:solidFill>
                  <a:srgbClr val="6F6F6F"/>
                </a:solidFill>
              </a:rPr>
              <a:t>Excel-</a:t>
            </a:r>
            <a:r>
              <a:rPr lang="de-DE" sz="1067" i="1" err="1">
                <a:solidFill>
                  <a:srgbClr val="6F6F6F"/>
                </a:solidFill>
              </a:rPr>
              <a:t>schedule</a:t>
            </a:r>
            <a:r>
              <a:rPr lang="de-DE" sz="1067" i="1" baseline="0">
                <a:solidFill>
                  <a:srgbClr val="6F6F6F"/>
                </a:solidFill>
              </a:rPr>
              <a:t> </a:t>
            </a:r>
            <a:r>
              <a:rPr lang="de-DE" sz="1067" i="1" baseline="0" err="1">
                <a:solidFill>
                  <a:srgbClr val="6F6F6F"/>
                </a:solidFill>
              </a:rPr>
              <a:t>opens</a:t>
            </a:r>
            <a:r>
              <a:rPr lang="de-DE" sz="1067" i="1" baseline="0">
                <a:solidFill>
                  <a:srgbClr val="6F6F6F"/>
                </a:solidFill>
              </a:rPr>
              <a:t>. </a:t>
            </a:r>
            <a:r>
              <a:rPr lang="de-DE" sz="1067" i="1" err="1">
                <a:solidFill>
                  <a:srgbClr val="6F6F6F"/>
                </a:solidFill>
              </a:rPr>
              <a:t>Sign</a:t>
            </a:r>
            <a:r>
              <a:rPr lang="de-DE" sz="1067" i="1">
                <a:solidFill>
                  <a:srgbClr val="6F6F6F"/>
                </a:solidFill>
              </a:rPr>
              <a:t> in </a:t>
            </a:r>
            <a:r>
              <a:rPr lang="de-DE" sz="1067" i="1" err="1">
                <a:solidFill>
                  <a:srgbClr val="6F6F6F"/>
                </a:solidFill>
              </a:rPr>
              <a:t>data</a:t>
            </a:r>
            <a:r>
              <a:rPr lang="de-DE" sz="1067" i="1">
                <a:solidFill>
                  <a:srgbClr val="6F6F6F"/>
                </a:solidFill>
              </a:rPr>
              <a:t>.</a:t>
            </a:r>
          </a:p>
          <a:p>
            <a:pPr marL="171456" marR="0" lvl="0" indent="-171456" algn="l" defTabSz="11720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Tx/>
              <a:buFont typeface="Arial"/>
              <a:buChar char="•"/>
              <a:tabLst/>
              <a:defRPr/>
            </a:pPr>
            <a:endParaRPr lang="de-DE" sz="1067" i="1">
              <a:solidFill>
                <a:srgbClr val="6F6F6F"/>
              </a:solidFill>
            </a:endParaRPr>
          </a:p>
          <a:p>
            <a:pPr marL="171456" marR="0" lvl="0" indent="-171456" algn="l" defTabSz="11720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Tx/>
              <a:buFont typeface="Arial"/>
              <a:buChar char="•"/>
              <a:tabLst/>
              <a:defRPr/>
            </a:pPr>
            <a:r>
              <a:rPr lang="de-DE" sz="1067" i="0">
                <a:solidFill>
                  <a:srgbClr val="6F6F6F"/>
                </a:solidFill>
              </a:rPr>
              <a:t>Rechtsklick auf Achse</a:t>
            </a:r>
            <a:r>
              <a:rPr lang="de-DE" sz="1067" i="0" baseline="0">
                <a:solidFill>
                  <a:srgbClr val="6F6F6F"/>
                </a:solidFill>
              </a:rPr>
              <a:t> /</a:t>
            </a:r>
            <a:r>
              <a:rPr lang="de-DE" sz="1067" i="0">
                <a:solidFill>
                  <a:srgbClr val="6F6F6F"/>
                </a:solidFill>
              </a:rPr>
              <a:t> Achse formatieren</a:t>
            </a:r>
            <a:r>
              <a:rPr lang="de-DE" sz="1067" i="0" baseline="0">
                <a:solidFill>
                  <a:srgbClr val="6F6F6F"/>
                </a:solidFill>
              </a:rPr>
              <a:t> /</a:t>
            </a:r>
            <a:r>
              <a:rPr lang="de-DE" sz="1067" i="0">
                <a:solidFill>
                  <a:srgbClr val="6F6F6F"/>
                </a:solidFill>
              </a:rPr>
              <a:t> Skalierung. </a:t>
            </a:r>
            <a:r>
              <a:rPr lang="de-DE" sz="1067" i="1" baseline="0" err="1">
                <a:solidFill>
                  <a:srgbClr val="6F6F6F"/>
                </a:solidFill>
              </a:rPr>
              <a:t>R</a:t>
            </a:r>
            <a:r>
              <a:rPr lang="de-DE" sz="1067" i="1" err="1">
                <a:solidFill>
                  <a:srgbClr val="6F6F6F"/>
                </a:solidFill>
              </a:rPr>
              <a:t>ight</a:t>
            </a:r>
            <a:r>
              <a:rPr lang="de-DE" sz="1067" i="1">
                <a:solidFill>
                  <a:srgbClr val="6F6F6F"/>
                </a:solidFill>
              </a:rPr>
              <a:t> klick</a:t>
            </a:r>
            <a:br>
              <a:rPr lang="de-DE" sz="1067" i="1">
                <a:solidFill>
                  <a:srgbClr val="6F6F6F"/>
                </a:solidFill>
              </a:rPr>
            </a:br>
            <a:r>
              <a:rPr lang="de-DE" sz="1067" i="1" err="1">
                <a:solidFill>
                  <a:srgbClr val="6F6F6F"/>
                </a:solidFill>
              </a:rPr>
              <a:t>to</a:t>
            </a:r>
            <a:r>
              <a:rPr lang="de-DE" sz="1067" i="1">
                <a:solidFill>
                  <a:srgbClr val="6F6F6F"/>
                </a:solidFill>
              </a:rPr>
              <a:t> </a:t>
            </a:r>
            <a:r>
              <a:rPr lang="de-DE" sz="1067" i="1" err="1">
                <a:solidFill>
                  <a:srgbClr val="6F6F6F"/>
                </a:solidFill>
              </a:rPr>
              <a:t>axle</a:t>
            </a:r>
            <a:r>
              <a:rPr lang="de-DE" sz="1067" i="1">
                <a:solidFill>
                  <a:srgbClr val="6F6F6F"/>
                </a:solidFill>
              </a:rPr>
              <a:t> </a:t>
            </a:r>
            <a:r>
              <a:rPr lang="de-DE" sz="1067" i="1" baseline="0">
                <a:solidFill>
                  <a:srgbClr val="6F6F6F"/>
                </a:solidFill>
              </a:rPr>
              <a:t>/ </a:t>
            </a:r>
            <a:r>
              <a:rPr lang="de-DE" sz="1067" i="1">
                <a:solidFill>
                  <a:srgbClr val="6F6F6F"/>
                </a:solidFill>
              </a:rPr>
              <a:t>Achse formatieren</a:t>
            </a:r>
            <a:r>
              <a:rPr lang="de-DE" sz="1067" i="1" baseline="0">
                <a:solidFill>
                  <a:srgbClr val="6F6F6F"/>
                </a:solidFill>
              </a:rPr>
              <a:t> /</a:t>
            </a:r>
            <a:r>
              <a:rPr lang="de-DE" sz="1067" i="1">
                <a:solidFill>
                  <a:srgbClr val="6F6F6F"/>
                </a:solidFill>
              </a:rPr>
              <a:t> Skalierung</a:t>
            </a:r>
          </a:p>
        </p:txBody>
      </p:sp>
      <p:sp>
        <p:nvSpPr>
          <p:cNvPr id="11" name="Textplatzhalter 13"/>
          <p:cNvSpPr txBox="1">
            <a:spLocks/>
          </p:cNvSpPr>
          <p:nvPr userDrawn="1"/>
        </p:nvSpPr>
        <p:spPr>
          <a:xfrm>
            <a:off x="6054650" y="1730377"/>
            <a:ext cx="1176895" cy="1393825"/>
          </a:xfrm>
          <a:prstGeom prst="rect">
            <a:avLst/>
          </a:prstGeom>
        </p:spPr>
        <p:txBody>
          <a:bodyPr lIns="0" tIns="0" rIns="0" bIns="0"/>
          <a:lstStyle>
            <a:lvl1pPr marL="304747" indent="-304747" algn="l" defTabSz="1171998" rtl="0" eaLnBrk="1" latinLnBrk="0" hangingPunct="1">
              <a:lnSpc>
                <a:spcPct val="100000"/>
              </a:lnSpc>
              <a:spcBef>
                <a:spcPts val="1066"/>
              </a:spcBef>
              <a:buClr>
                <a:schemeClr val="tx1"/>
              </a:buClr>
              <a:buSzPct val="80000"/>
              <a:buFont typeface="Wingdings 3" panose="05040102010807070707" pitchFamily="18" charset="2"/>
              <a:buChar char="u"/>
              <a:defRPr sz="2700" b="0" i="0" kern="900" spc="0">
                <a:solidFill>
                  <a:schemeClr val="tx1"/>
                </a:solidFill>
                <a:latin typeface="+mn-lt"/>
                <a:ea typeface="+mn-ea"/>
                <a:cs typeface="3ds Light"/>
              </a:defRPr>
            </a:lvl1pPr>
            <a:lvl2pPr marL="533307" marR="0" indent="-234910" algn="l" defTabSz="1171998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 3" panose="05040102010807070707" pitchFamily="18" charset="2"/>
              <a:buChar char="w"/>
              <a:tabLst/>
              <a:defRPr sz="2400" b="0" i="0" kern="900" spc="0" baseline="0">
                <a:solidFill>
                  <a:schemeClr val="tx1"/>
                </a:solidFill>
                <a:latin typeface="+mn-lt"/>
                <a:ea typeface="+mn-ea"/>
                <a:cs typeface="3ds Light"/>
              </a:defRPr>
            </a:lvl2pPr>
            <a:lvl3pPr marL="838053" marR="0" indent="-211630" algn="l" defTabSz="1171998" rtl="0" eaLnBrk="1" fontAlgn="auto" latinLnBrk="0" hangingPunct="1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tx1"/>
              </a:buClr>
              <a:buSzPct val="60000"/>
              <a:buFont typeface="Wingdings 3" panose="05040102010807070707" pitchFamily="18" charset="2"/>
              <a:buChar char="u"/>
              <a:tabLst/>
              <a:defRPr sz="2100" b="0" i="0" kern="900" spc="0">
                <a:solidFill>
                  <a:schemeClr val="tx1"/>
                </a:solidFill>
                <a:latin typeface="+mn-lt"/>
                <a:ea typeface="+mn-ea"/>
                <a:cs typeface="3ds Light"/>
              </a:defRPr>
            </a:lvl3pPr>
            <a:lvl4pPr marL="1142800" indent="-239142" algn="l" defTabSz="1171998" rtl="0" eaLnBrk="1" latinLnBrk="0" hangingPunct="1">
              <a:lnSpc>
                <a:spcPct val="100000"/>
              </a:lnSpc>
              <a:spcBef>
                <a:spcPts val="533"/>
              </a:spcBef>
              <a:buClr>
                <a:schemeClr val="tx1"/>
              </a:buClr>
              <a:buSzPct val="60000"/>
              <a:buFont typeface="Wingdings 3" panose="05040102010807070707" pitchFamily="18" charset="2"/>
              <a:buChar char="w"/>
              <a:defRPr sz="1900" b="0" i="0" kern="900" spc="-93">
                <a:solidFill>
                  <a:schemeClr val="tx1"/>
                </a:solidFill>
                <a:latin typeface="+mn-lt"/>
                <a:ea typeface="+mn-ea"/>
                <a:cs typeface="3ds Light"/>
              </a:defRPr>
            </a:lvl4pPr>
            <a:lvl5pPr marL="1218987" indent="0" algn="l" defTabSz="1371360" rtl="0" eaLnBrk="1" latinLnBrk="0" hangingPunct="1">
              <a:lnSpc>
                <a:spcPct val="100000"/>
              </a:lnSpc>
              <a:spcBef>
                <a:spcPts val="400"/>
              </a:spcBef>
              <a:buFont typeface="Arial"/>
              <a:buNone/>
              <a:defRPr sz="1600" b="0" i="0" kern="1200" baseline="0">
                <a:solidFill>
                  <a:schemeClr val="tx1"/>
                </a:solidFill>
                <a:latin typeface="+mn-lt"/>
                <a:ea typeface="+mn-ea"/>
                <a:cs typeface="3ds Light"/>
              </a:defRPr>
            </a:lvl5pPr>
            <a:lvl6pPr marL="3222993" indent="-292999" algn="l" defTabSz="11719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08991" indent="-292999" algn="l" defTabSz="11719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94989" indent="-292999" algn="l" defTabSz="11719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980988" indent="-292999" algn="l" defTabSz="11719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chemeClr val="accent5"/>
              </a:buClr>
              <a:buNone/>
            </a:pPr>
            <a:r>
              <a:rPr lang="de-DE" altLang="de-DE" sz="1200" err="1">
                <a:cs typeface="Arial" panose="020B0604020202020204" pitchFamily="34" charset="0"/>
              </a:rPr>
              <a:t>Rollieranlage</a:t>
            </a:r>
            <a:endParaRPr lang="de-DE" altLang="de-DE" sz="1200">
              <a:cs typeface="Arial" panose="020B0604020202020204" pitchFamily="34" charset="0"/>
            </a:endParaRPr>
          </a:p>
          <a:p>
            <a:pPr marL="0" indent="0">
              <a:buClr>
                <a:schemeClr val="accent5"/>
              </a:buClr>
              <a:buNone/>
            </a:pPr>
            <a:r>
              <a:rPr lang="de-DE" altLang="de-DE" sz="1200">
                <a:cs typeface="Arial" panose="020B0604020202020204" pitchFamily="34" charset="0"/>
              </a:rPr>
              <a:t>Logistikzentrum </a:t>
            </a:r>
          </a:p>
        </p:txBody>
      </p:sp>
      <p:sp>
        <p:nvSpPr>
          <p:cNvPr id="12" name="Textplatzhalter 13"/>
          <p:cNvSpPr txBox="1">
            <a:spLocks/>
          </p:cNvSpPr>
          <p:nvPr userDrawn="1"/>
        </p:nvSpPr>
        <p:spPr>
          <a:xfrm>
            <a:off x="9059525" y="1730376"/>
            <a:ext cx="1597233" cy="948685"/>
          </a:xfrm>
          <a:prstGeom prst="rect">
            <a:avLst/>
          </a:prstGeom>
        </p:spPr>
        <p:txBody>
          <a:bodyPr lIns="0" tIns="0" rIns="0" bIns="0"/>
          <a:lstStyle>
            <a:lvl1pPr marL="304747" indent="-304747" algn="l" defTabSz="1171998" rtl="0" eaLnBrk="1" latinLnBrk="0" hangingPunct="1">
              <a:lnSpc>
                <a:spcPct val="100000"/>
              </a:lnSpc>
              <a:spcBef>
                <a:spcPts val="1066"/>
              </a:spcBef>
              <a:buClr>
                <a:schemeClr val="tx1"/>
              </a:buClr>
              <a:buSzPct val="80000"/>
              <a:buFont typeface="Wingdings 3" panose="05040102010807070707" pitchFamily="18" charset="2"/>
              <a:buChar char="u"/>
              <a:defRPr sz="2700" b="0" i="0" kern="900" spc="0">
                <a:solidFill>
                  <a:schemeClr val="tx1"/>
                </a:solidFill>
                <a:latin typeface="+mn-lt"/>
                <a:ea typeface="+mn-ea"/>
                <a:cs typeface="3ds Light"/>
              </a:defRPr>
            </a:lvl1pPr>
            <a:lvl2pPr marL="533307" marR="0" indent="-234910" algn="l" defTabSz="1171998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 3" panose="05040102010807070707" pitchFamily="18" charset="2"/>
              <a:buChar char="w"/>
              <a:tabLst/>
              <a:defRPr sz="2400" b="0" i="0" kern="900" spc="0" baseline="0">
                <a:solidFill>
                  <a:schemeClr val="tx1"/>
                </a:solidFill>
                <a:latin typeface="+mn-lt"/>
                <a:ea typeface="+mn-ea"/>
                <a:cs typeface="3ds Light"/>
              </a:defRPr>
            </a:lvl2pPr>
            <a:lvl3pPr marL="838053" marR="0" indent="-211630" algn="l" defTabSz="1171998" rtl="0" eaLnBrk="1" fontAlgn="auto" latinLnBrk="0" hangingPunct="1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tx1"/>
              </a:buClr>
              <a:buSzPct val="60000"/>
              <a:buFont typeface="Wingdings 3" panose="05040102010807070707" pitchFamily="18" charset="2"/>
              <a:buChar char="u"/>
              <a:tabLst/>
              <a:defRPr sz="2100" b="0" i="0" kern="900" spc="0">
                <a:solidFill>
                  <a:schemeClr val="tx1"/>
                </a:solidFill>
                <a:latin typeface="+mn-lt"/>
                <a:ea typeface="+mn-ea"/>
                <a:cs typeface="3ds Light"/>
              </a:defRPr>
            </a:lvl3pPr>
            <a:lvl4pPr marL="1142800" indent="-239142" algn="l" defTabSz="1171998" rtl="0" eaLnBrk="1" latinLnBrk="0" hangingPunct="1">
              <a:lnSpc>
                <a:spcPct val="100000"/>
              </a:lnSpc>
              <a:spcBef>
                <a:spcPts val="533"/>
              </a:spcBef>
              <a:buClr>
                <a:schemeClr val="tx1"/>
              </a:buClr>
              <a:buSzPct val="60000"/>
              <a:buFont typeface="Wingdings 3" panose="05040102010807070707" pitchFamily="18" charset="2"/>
              <a:buChar char="w"/>
              <a:defRPr sz="1900" b="0" i="0" kern="900" spc="-93">
                <a:solidFill>
                  <a:schemeClr val="tx1"/>
                </a:solidFill>
                <a:latin typeface="+mn-lt"/>
                <a:ea typeface="+mn-ea"/>
                <a:cs typeface="3ds Light"/>
              </a:defRPr>
            </a:lvl4pPr>
            <a:lvl5pPr marL="1218987" indent="0" algn="l" defTabSz="1371360" rtl="0" eaLnBrk="1" latinLnBrk="0" hangingPunct="1">
              <a:lnSpc>
                <a:spcPct val="100000"/>
              </a:lnSpc>
              <a:spcBef>
                <a:spcPts val="400"/>
              </a:spcBef>
              <a:buFont typeface="Arial"/>
              <a:buNone/>
              <a:defRPr sz="1600" b="0" i="0" kern="1200" baseline="0">
                <a:solidFill>
                  <a:schemeClr val="tx1"/>
                </a:solidFill>
                <a:latin typeface="+mn-lt"/>
                <a:ea typeface="+mn-ea"/>
                <a:cs typeface="3ds Light"/>
              </a:defRPr>
            </a:lvl5pPr>
            <a:lvl6pPr marL="3222993" indent="-292999" algn="l" defTabSz="11719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08991" indent="-292999" algn="l" defTabSz="11719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94989" indent="-292999" algn="l" defTabSz="11719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980988" indent="-292999" algn="l" defTabSz="11719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chemeClr val="accent5"/>
              </a:buClr>
              <a:buNone/>
            </a:pPr>
            <a:r>
              <a:rPr lang="de-DE" altLang="de-DE" sz="1200">
                <a:cs typeface="Arial" panose="020B0604020202020204" pitchFamily="34" charset="0"/>
              </a:rPr>
              <a:t>U. a. Fertigungswerk </a:t>
            </a:r>
            <a:br>
              <a:rPr lang="de-DE" altLang="de-DE" sz="1200">
                <a:cs typeface="Arial" panose="020B0604020202020204" pitchFamily="34" charset="0"/>
              </a:rPr>
            </a:br>
            <a:r>
              <a:rPr lang="de-DE" altLang="de-DE" sz="1200">
                <a:cs typeface="Arial" panose="020B0604020202020204" pitchFamily="34" charset="0"/>
              </a:rPr>
              <a:t>Berlin Produktlinie </a:t>
            </a:r>
            <a:br>
              <a:rPr lang="de-DE" altLang="de-DE" sz="1200">
                <a:cs typeface="Arial" panose="020B0604020202020204" pitchFamily="34" charset="0"/>
              </a:rPr>
            </a:br>
            <a:r>
              <a:rPr lang="de-DE" altLang="de-DE" sz="1200">
                <a:cs typeface="Arial" panose="020B0604020202020204" pitchFamily="34" charset="0"/>
              </a:rPr>
              <a:t>V.KO – VAN BODIES</a:t>
            </a:r>
          </a:p>
          <a:p>
            <a:pPr marL="0" indent="0">
              <a:buClr>
                <a:schemeClr val="accent5"/>
              </a:buClr>
              <a:buNone/>
            </a:pPr>
            <a:r>
              <a:rPr lang="de-DE" altLang="de-DE" sz="1200">
                <a:cs typeface="Arial" panose="020B0604020202020204" pitchFamily="34" charset="0"/>
              </a:rPr>
              <a:t>Fertigungswerk Türkei</a:t>
            </a:r>
          </a:p>
        </p:txBody>
      </p:sp>
      <p:sp>
        <p:nvSpPr>
          <p:cNvPr id="13" name="Textplatzhalter 13"/>
          <p:cNvSpPr txBox="1">
            <a:spLocks/>
          </p:cNvSpPr>
          <p:nvPr userDrawn="1"/>
        </p:nvSpPr>
        <p:spPr>
          <a:xfrm>
            <a:off x="7556200" y="1730377"/>
            <a:ext cx="1131803" cy="2003425"/>
          </a:xfrm>
          <a:prstGeom prst="rect">
            <a:avLst/>
          </a:prstGeom>
        </p:spPr>
        <p:txBody>
          <a:bodyPr lIns="0" tIns="0" rIns="0" bIns="0"/>
          <a:lstStyle>
            <a:lvl1pPr marL="304747" indent="-304747" algn="l" defTabSz="1171998" rtl="0" eaLnBrk="1" latinLnBrk="0" hangingPunct="1">
              <a:lnSpc>
                <a:spcPct val="100000"/>
              </a:lnSpc>
              <a:spcBef>
                <a:spcPts val="1066"/>
              </a:spcBef>
              <a:buClr>
                <a:schemeClr val="tx1"/>
              </a:buClr>
              <a:buSzPct val="80000"/>
              <a:buFont typeface="Wingdings 3" panose="05040102010807070707" pitchFamily="18" charset="2"/>
              <a:buChar char="u"/>
              <a:defRPr sz="2700" b="0" i="0" kern="900" spc="0">
                <a:solidFill>
                  <a:schemeClr val="tx1"/>
                </a:solidFill>
                <a:latin typeface="+mn-lt"/>
                <a:ea typeface="+mn-ea"/>
                <a:cs typeface="3ds Light"/>
              </a:defRPr>
            </a:lvl1pPr>
            <a:lvl2pPr marL="533307" marR="0" indent="-234910" algn="l" defTabSz="1171998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 3" panose="05040102010807070707" pitchFamily="18" charset="2"/>
              <a:buChar char="w"/>
              <a:tabLst/>
              <a:defRPr sz="2400" b="0" i="0" kern="900" spc="0" baseline="0">
                <a:solidFill>
                  <a:schemeClr val="tx1"/>
                </a:solidFill>
                <a:latin typeface="+mn-lt"/>
                <a:ea typeface="+mn-ea"/>
                <a:cs typeface="3ds Light"/>
              </a:defRPr>
            </a:lvl2pPr>
            <a:lvl3pPr marL="838053" marR="0" indent="-211630" algn="l" defTabSz="1171998" rtl="0" eaLnBrk="1" fontAlgn="auto" latinLnBrk="0" hangingPunct="1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tx1"/>
              </a:buClr>
              <a:buSzPct val="60000"/>
              <a:buFont typeface="Wingdings 3" panose="05040102010807070707" pitchFamily="18" charset="2"/>
              <a:buChar char="u"/>
              <a:tabLst/>
              <a:defRPr sz="2100" b="0" i="0" kern="900" spc="0">
                <a:solidFill>
                  <a:schemeClr val="tx1"/>
                </a:solidFill>
                <a:latin typeface="+mn-lt"/>
                <a:ea typeface="+mn-ea"/>
                <a:cs typeface="3ds Light"/>
              </a:defRPr>
            </a:lvl3pPr>
            <a:lvl4pPr marL="1142800" indent="-239142" algn="l" defTabSz="1171998" rtl="0" eaLnBrk="1" latinLnBrk="0" hangingPunct="1">
              <a:lnSpc>
                <a:spcPct val="100000"/>
              </a:lnSpc>
              <a:spcBef>
                <a:spcPts val="533"/>
              </a:spcBef>
              <a:buClr>
                <a:schemeClr val="tx1"/>
              </a:buClr>
              <a:buSzPct val="60000"/>
              <a:buFont typeface="Wingdings 3" panose="05040102010807070707" pitchFamily="18" charset="2"/>
              <a:buChar char="w"/>
              <a:defRPr sz="1900" b="0" i="0" kern="900" spc="-93">
                <a:solidFill>
                  <a:schemeClr val="tx1"/>
                </a:solidFill>
                <a:latin typeface="+mn-lt"/>
                <a:ea typeface="+mn-ea"/>
                <a:cs typeface="3ds Light"/>
              </a:defRPr>
            </a:lvl4pPr>
            <a:lvl5pPr marL="1218987" indent="0" algn="l" defTabSz="1371360" rtl="0" eaLnBrk="1" latinLnBrk="0" hangingPunct="1">
              <a:lnSpc>
                <a:spcPct val="100000"/>
              </a:lnSpc>
              <a:spcBef>
                <a:spcPts val="400"/>
              </a:spcBef>
              <a:buFont typeface="Arial"/>
              <a:buNone/>
              <a:defRPr sz="1600" b="0" i="0" kern="1200" baseline="0">
                <a:solidFill>
                  <a:schemeClr val="tx1"/>
                </a:solidFill>
                <a:latin typeface="+mn-lt"/>
                <a:ea typeface="+mn-ea"/>
                <a:cs typeface="3ds Light"/>
              </a:defRPr>
            </a:lvl5pPr>
            <a:lvl6pPr marL="3222993" indent="-292999" algn="l" defTabSz="11719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08991" indent="-292999" algn="l" defTabSz="11719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94989" indent="-292999" algn="l" defTabSz="11719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980988" indent="-292999" algn="l" defTabSz="11719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chemeClr val="accent5"/>
              </a:buClr>
              <a:buNone/>
            </a:pPr>
            <a:r>
              <a:rPr lang="de-DE" altLang="de-DE" sz="1200" err="1">
                <a:cs typeface="Arial" panose="020B0604020202020204" pitchFamily="34" charset="0"/>
              </a:rPr>
              <a:t>Abcoil</a:t>
            </a:r>
            <a:r>
              <a:rPr lang="de-DE" altLang="de-DE" sz="1200">
                <a:cs typeface="Arial" panose="020B0604020202020204" pitchFamily="34" charset="0"/>
              </a:rPr>
              <a:t>-Anlage </a:t>
            </a:r>
            <a:br>
              <a:rPr lang="de-DE" altLang="de-DE" sz="1200">
                <a:cs typeface="Arial" panose="020B0604020202020204" pitchFamily="34" charset="0"/>
              </a:rPr>
            </a:br>
            <a:r>
              <a:rPr lang="de-DE" altLang="de-DE" sz="1200">
                <a:cs typeface="Arial" panose="020B0604020202020204" pitchFamily="34" charset="0"/>
              </a:rPr>
              <a:t>für Langträger</a:t>
            </a:r>
          </a:p>
          <a:p>
            <a:pPr marL="0" indent="0">
              <a:buClr>
                <a:schemeClr val="accent5"/>
              </a:buClr>
              <a:buNone/>
            </a:pPr>
            <a:r>
              <a:rPr lang="de-DE" altLang="de-DE" sz="1200">
                <a:cs typeface="Arial" panose="020B0604020202020204" pitchFamily="34" charset="0"/>
              </a:rPr>
              <a:t>Produktion</a:t>
            </a:r>
            <a:br>
              <a:rPr lang="de-DE" altLang="de-DE" sz="1200">
                <a:cs typeface="Arial" panose="020B0604020202020204" pitchFamily="34" charset="0"/>
              </a:rPr>
            </a:br>
            <a:r>
              <a:rPr lang="de-DE" altLang="de-DE" sz="1200">
                <a:cs typeface="Arial" panose="020B0604020202020204" pitchFamily="34" charset="0"/>
              </a:rPr>
              <a:t>Transportkälte-</a:t>
            </a:r>
            <a:br>
              <a:rPr lang="de-DE" altLang="de-DE" sz="1200">
                <a:cs typeface="Arial" panose="020B0604020202020204" pitchFamily="34" charset="0"/>
              </a:rPr>
            </a:br>
            <a:r>
              <a:rPr lang="de-DE" altLang="de-DE" sz="1200" err="1">
                <a:cs typeface="Arial" panose="020B0604020202020204" pitchFamily="34" charset="0"/>
              </a:rPr>
              <a:t>maschine</a:t>
            </a:r>
            <a:endParaRPr lang="de-DE" altLang="de-DE" sz="1200">
              <a:cs typeface="Arial" panose="020B0604020202020204" pitchFamily="34" charset="0"/>
            </a:endParaRPr>
          </a:p>
          <a:p>
            <a:pPr marL="0" indent="0">
              <a:buClr>
                <a:schemeClr val="accent5"/>
              </a:buClr>
              <a:buNone/>
            </a:pPr>
            <a:endParaRPr lang="de-DE" altLang="de-DE" sz="1200">
              <a:cs typeface="Arial" panose="020B0604020202020204" pitchFamily="34" charset="0"/>
            </a:endParaRPr>
          </a:p>
        </p:txBody>
      </p:sp>
      <p:sp>
        <p:nvSpPr>
          <p:cNvPr id="14" name="Textplatzhalter 13"/>
          <p:cNvSpPr txBox="1">
            <a:spLocks/>
          </p:cNvSpPr>
          <p:nvPr userDrawn="1"/>
        </p:nvSpPr>
        <p:spPr>
          <a:xfrm>
            <a:off x="4542396" y="1730376"/>
            <a:ext cx="1275030" cy="948685"/>
          </a:xfrm>
          <a:prstGeom prst="rect">
            <a:avLst/>
          </a:prstGeom>
        </p:spPr>
        <p:txBody>
          <a:bodyPr lIns="0" tIns="0" rIns="0" bIns="0"/>
          <a:lstStyle>
            <a:lvl1pPr marL="304747" indent="-304747" algn="l" defTabSz="1171998" rtl="0" eaLnBrk="1" latinLnBrk="0" hangingPunct="1">
              <a:lnSpc>
                <a:spcPct val="100000"/>
              </a:lnSpc>
              <a:spcBef>
                <a:spcPts val="1066"/>
              </a:spcBef>
              <a:buClr>
                <a:schemeClr val="tx1"/>
              </a:buClr>
              <a:buSzPct val="80000"/>
              <a:buFont typeface="Wingdings 3" panose="05040102010807070707" pitchFamily="18" charset="2"/>
              <a:buChar char="u"/>
              <a:defRPr sz="2700" b="0" i="0" kern="900" spc="0">
                <a:solidFill>
                  <a:schemeClr val="tx1"/>
                </a:solidFill>
                <a:latin typeface="+mn-lt"/>
                <a:ea typeface="+mn-ea"/>
                <a:cs typeface="3ds Light"/>
              </a:defRPr>
            </a:lvl1pPr>
            <a:lvl2pPr marL="533307" marR="0" indent="-234910" algn="l" defTabSz="1171998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 3" panose="05040102010807070707" pitchFamily="18" charset="2"/>
              <a:buChar char="w"/>
              <a:tabLst/>
              <a:defRPr sz="2400" b="0" i="0" kern="900" spc="0" baseline="0">
                <a:solidFill>
                  <a:schemeClr val="tx1"/>
                </a:solidFill>
                <a:latin typeface="+mn-lt"/>
                <a:ea typeface="+mn-ea"/>
                <a:cs typeface="3ds Light"/>
              </a:defRPr>
            </a:lvl2pPr>
            <a:lvl3pPr marL="838053" marR="0" indent="-211630" algn="l" defTabSz="1171998" rtl="0" eaLnBrk="1" fontAlgn="auto" latinLnBrk="0" hangingPunct="1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tx1"/>
              </a:buClr>
              <a:buSzPct val="60000"/>
              <a:buFont typeface="Wingdings 3" panose="05040102010807070707" pitchFamily="18" charset="2"/>
              <a:buChar char="u"/>
              <a:tabLst/>
              <a:defRPr sz="2100" b="0" i="0" kern="900" spc="0">
                <a:solidFill>
                  <a:schemeClr val="tx1"/>
                </a:solidFill>
                <a:latin typeface="+mn-lt"/>
                <a:ea typeface="+mn-ea"/>
                <a:cs typeface="3ds Light"/>
              </a:defRPr>
            </a:lvl3pPr>
            <a:lvl4pPr marL="1142800" indent="-239142" algn="l" defTabSz="1171998" rtl="0" eaLnBrk="1" latinLnBrk="0" hangingPunct="1">
              <a:lnSpc>
                <a:spcPct val="100000"/>
              </a:lnSpc>
              <a:spcBef>
                <a:spcPts val="533"/>
              </a:spcBef>
              <a:buClr>
                <a:schemeClr val="tx1"/>
              </a:buClr>
              <a:buSzPct val="60000"/>
              <a:buFont typeface="Wingdings 3" panose="05040102010807070707" pitchFamily="18" charset="2"/>
              <a:buChar char="w"/>
              <a:defRPr sz="1900" b="0" i="0" kern="900" spc="-93">
                <a:solidFill>
                  <a:schemeClr val="tx1"/>
                </a:solidFill>
                <a:latin typeface="+mn-lt"/>
                <a:ea typeface="+mn-ea"/>
                <a:cs typeface="3ds Light"/>
              </a:defRPr>
            </a:lvl4pPr>
            <a:lvl5pPr marL="1218987" indent="0" algn="l" defTabSz="1371360" rtl="0" eaLnBrk="1" latinLnBrk="0" hangingPunct="1">
              <a:lnSpc>
                <a:spcPct val="100000"/>
              </a:lnSpc>
              <a:spcBef>
                <a:spcPts val="400"/>
              </a:spcBef>
              <a:buFont typeface="Arial"/>
              <a:buNone/>
              <a:defRPr sz="1600" b="0" i="0" kern="1200" baseline="0">
                <a:solidFill>
                  <a:schemeClr val="tx1"/>
                </a:solidFill>
                <a:latin typeface="+mn-lt"/>
                <a:ea typeface="+mn-ea"/>
                <a:cs typeface="3ds Light"/>
              </a:defRPr>
            </a:lvl5pPr>
            <a:lvl6pPr marL="3222993" indent="-292999" algn="l" defTabSz="11719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08991" indent="-292999" algn="l" defTabSz="11719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94989" indent="-292999" algn="l" defTabSz="11719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980988" indent="-292999" algn="l" defTabSz="11719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chemeClr val="accent5"/>
              </a:buClr>
              <a:buNone/>
            </a:pPr>
            <a:r>
              <a:rPr lang="de-DE" altLang="de-DE" sz="1200">
                <a:cs typeface="Arial" panose="020B0604020202020204" pitchFamily="34" charset="0"/>
              </a:rPr>
              <a:t>Neue Halle für </a:t>
            </a:r>
            <a:br>
              <a:rPr lang="de-DE" altLang="de-DE" sz="1200">
                <a:cs typeface="Arial" panose="020B0604020202020204" pitchFamily="34" charset="0"/>
              </a:rPr>
            </a:br>
            <a:r>
              <a:rPr lang="de-DE" altLang="de-DE" sz="1200" err="1">
                <a:cs typeface="Arial" panose="020B0604020202020204" pitchFamily="34" charset="0"/>
              </a:rPr>
              <a:t>Rollieranlage</a:t>
            </a:r>
            <a:endParaRPr lang="de-DE" altLang="de-DE" sz="1200">
              <a:cs typeface="Arial" panose="020B0604020202020204" pitchFamily="34" charset="0"/>
            </a:endParaRPr>
          </a:p>
          <a:p>
            <a:pPr marL="0" indent="0">
              <a:buClr>
                <a:schemeClr val="accent5"/>
              </a:buClr>
              <a:buNone/>
            </a:pPr>
            <a:r>
              <a:rPr lang="de-DE" altLang="de-DE" sz="1200">
                <a:cs typeface="Arial" panose="020B0604020202020204" pitchFamily="34" charset="0"/>
              </a:rPr>
              <a:t>Neues Schäum-</a:t>
            </a:r>
            <a:br>
              <a:rPr lang="de-DE" altLang="de-DE" sz="1200">
                <a:cs typeface="Arial" panose="020B0604020202020204" pitchFamily="34" charset="0"/>
              </a:rPr>
            </a:br>
            <a:r>
              <a:rPr lang="de-DE" altLang="de-DE" sz="1200">
                <a:cs typeface="Arial" panose="020B0604020202020204" pitchFamily="34" charset="0"/>
              </a:rPr>
              <a:t>werk</a:t>
            </a:r>
          </a:p>
        </p:txBody>
      </p:sp>
      <p:cxnSp>
        <p:nvCxnSpPr>
          <p:cNvPr id="16" name="Gewinkelte Verbindung 15"/>
          <p:cNvCxnSpPr/>
          <p:nvPr userDrawn="1"/>
        </p:nvCxnSpPr>
        <p:spPr>
          <a:xfrm rot="5400000">
            <a:off x="3299331" y="2886246"/>
            <a:ext cx="2208755" cy="108014"/>
          </a:xfrm>
          <a:prstGeom prst="bentConnector3">
            <a:avLst>
              <a:gd name="adj1" fmla="val -24"/>
            </a:avLst>
          </a:prstGeom>
          <a:ln w="12700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Gewinkelte Verbindung 16"/>
          <p:cNvCxnSpPr/>
          <p:nvPr userDrawn="1"/>
        </p:nvCxnSpPr>
        <p:spPr>
          <a:xfrm rot="5400000">
            <a:off x="3299331" y="3377313"/>
            <a:ext cx="2208755" cy="108014"/>
          </a:xfrm>
          <a:prstGeom prst="bentConnector3">
            <a:avLst>
              <a:gd name="adj1" fmla="val -24"/>
            </a:avLst>
          </a:prstGeom>
          <a:ln w="12700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Gewinkelte Verbindung 17"/>
          <p:cNvCxnSpPr/>
          <p:nvPr userDrawn="1"/>
        </p:nvCxnSpPr>
        <p:spPr>
          <a:xfrm rot="5400000">
            <a:off x="4798193" y="2886246"/>
            <a:ext cx="2208755" cy="108014"/>
          </a:xfrm>
          <a:prstGeom prst="bentConnector3">
            <a:avLst>
              <a:gd name="adj1" fmla="val -24"/>
            </a:avLst>
          </a:prstGeom>
          <a:ln w="12700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Gewinkelte Verbindung 18"/>
          <p:cNvCxnSpPr/>
          <p:nvPr userDrawn="1"/>
        </p:nvCxnSpPr>
        <p:spPr>
          <a:xfrm rot="5400000">
            <a:off x="4798193" y="3207974"/>
            <a:ext cx="2208755" cy="108014"/>
          </a:xfrm>
          <a:prstGeom prst="bentConnector3">
            <a:avLst>
              <a:gd name="adj1" fmla="val -24"/>
            </a:avLst>
          </a:prstGeom>
          <a:ln w="12700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Gewinkelte Verbindung 19"/>
          <p:cNvCxnSpPr/>
          <p:nvPr userDrawn="1"/>
        </p:nvCxnSpPr>
        <p:spPr>
          <a:xfrm rot="5400000">
            <a:off x="6296988" y="2886248"/>
            <a:ext cx="2208755" cy="108014"/>
          </a:xfrm>
          <a:prstGeom prst="bentConnector3">
            <a:avLst>
              <a:gd name="adj1" fmla="val -24"/>
            </a:avLst>
          </a:prstGeom>
          <a:ln w="12700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Gewinkelte Verbindung 20"/>
          <p:cNvCxnSpPr/>
          <p:nvPr userDrawn="1"/>
        </p:nvCxnSpPr>
        <p:spPr>
          <a:xfrm rot="5400000">
            <a:off x="6296988" y="3377314"/>
            <a:ext cx="2208755" cy="108014"/>
          </a:xfrm>
          <a:prstGeom prst="bentConnector3">
            <a:avLst>
              <a:gd name="adj1" fmla="val -24"/>
            </a:avLst>
          </a:prstGeom>
          <a:ln w="12700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Gewinkelte Verbindung 21"/>
          <p:cNvCxnSpPr/>
          <p:nvPr userDrawn="1"/>
        </p:nvCxnSpPr>
        <p:spPr>
          <a:xfrm rot="5400000">
            <a:off x="7787316" y="2886249"/>
            <a:ext cx="2208755" cy="108014"/>
          </a:xfrm>
          <a:prstGeom prst="bentConnector3">
            <a:avLst>
              <a:gd name="adj1" fmla="val -24"/>
            </a:avLst>
          </a:prstGeom>
          <a:ln w="12700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Gewinkelte Verbindung 22"/>
          <p:cNvCxnSpPr/>
          <p:nvPr userDrawn="1"/>
        </p:nvCxnSpPr>
        <p:spPr>
          <a:xfrm rot="5400000">
            <a:off x="7787316" y="3572056"/>
            <a:ext cx="2208755" cy="108014"/>
          </a:xfrm>
          <a:prstGeom prst="bentConnector3">
            <a:avLst>
              <a:gd name="adj1" fmla="val -24"/>
            </a:avLst>
          </a:prstGeom>
          <a:ln w="12700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Fußzeilenplatzhalter 2"/>
          <p:cNvSpPr>
            <a:spLocks noGrp="1"/>
          </p:cNvSpPr>
          <p:nvPr>
            <p:ph type="ftr" sz="quarter" idx="3"/>
          </p:nvPr>
        </p:nvSpPr>
        <p:spPr>
          <a:xfrm>
            <a:off x="4122537" y="6192000"/>
            <a:ext cx="7380962" cy="66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6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Ringvorlesung – Digitale Transformation bei Schmitz Cargobull</a:t>
            </a:r>
          </a:p>
        </p:txBody>
      </p:sp>
      <p:sp>
        <p:nvSpPr>
          <p:cNvPr id="27" name="Datumsplatzhalter 4"/>
          <p:cNvSpPr>
            <a:spLocks noGrp="1"/>
          </p:cNvSpPr>
          <p:nvPr>
            <p:ph type="dt" sz="half" idx="2"/>
          </p:nvPr>
        </p:nvSpPr>
        <p:spPr>
          <a:xfrm>
            <a:off x="2520328" y="6191559"/>
            <a:ext cx="1602209" cy="66644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6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17.01.2019</a:t>
            </a:r>
          </a:p>
        </p:txBody>
      </p:sp>
    </p:spTree>
    <p:extLst>
      <p:ext uri="{BB962C8B-B14F-4D97-AF65-F5344CB8AC3E}">
        <p14:creationId xmlns:p14="http://schemas.microsoft.com/office/powerpoint/2010/main" val="383277993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hart 3"/>
          <p:cNvGraphicFramePr>
            <a:graphicFrameLocks noGrp="1"/>
          </p:cNvGraphicFramePr>
          <p:nvPr userDrawn="1"/>
        </p:nvGraphicFramePr>
        <p:xfrm>
          <a:off x="2049317" y="1564037"/>
          <a:ext cx="9967454" cy="43880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2517558" y="651516"/>
            <a:ext cx="9002844" cy="661987"/>
          </a:xfrm>
        </p:spPr>
        <p:txBody>
          <a:bodyPr/>
          <a:lstStyle>
            <a:lvl1pPr>
              <a:defRPr baseline="0">
                <a:solidFill>
                  <a:srgbClr val="6F6F6F"/>
                </a:solidFill>
              </a:defRPr>
            </a:lvl1pPr>
          </a:lstStyle>
          <a:p>
            <a:r>
              <a:rPr lang="de-DE"/>
              <a:t>Kopiervorlage Balken 2 / </a:t>
            </a:r>
            <a:r>
              <a:rPr lang="de-DE" err="1"/>
              <a:t>copy</a:t>
            </a:r>
            <a:r>
              <a:rPr lang="de-DE"/>
              <a:t> </a:t>
            </a:r>
            <a:r>
              <a:rPr lang="de-DE" err="1"/>
              <a:t>sheet</a:t>
            </a:r>
            <a:r>
              <a:rPr lang="de-DE"/>
              <a:t> bar 2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idx="10" hasCustomPrompt="1"/>
          </p:nvPr>
        </p:nvSpPr>
        <p:spPr>
          <a:xfrm>
            <a:off x="649708" y="1624438"/>
            <a:ext cx="1842781" cy="344487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2266">
                <a:solidFill>
                  <a:schemeClr val="tx1"/>
                </a:solidFill>
              </a:defRPr>
            </a:lvl1pPr>
          </a:lstStyle>
          <a:p>
            <a:pPr lvl="0"/>
            <a:r>
              <a:rPr lang="de-DE" err="1"/>
              <a:t>Tutorial</a:t>
            </a:r>
            <a:endParaRPr lang="de-DE"/>
          </a:p>
        </p:txBody>
      </p:sp>
      <p:sp>
        <p:nvSpPr>
          <p:cNvPr id="8" name="Textfeld 7"/>
          <p:cNvSpPr txBox="1"/>
          <p:nvPr userDrawn="1"/>
        </p:nvSpPr>
        <p:spPr>
          <a:xfrm>
            <a:off x="502528" y="2274487"/>
            <a:ext cx="1759955" cy="3915619"/>
          </a:xfrm>
          <a:prstGeom prst="rect">
            <a:avLst/>
          </a:prstGeom>
          <a:noFill/>
        </p:spPr>
        <p:txBody>
          <a:bodyPr wrap="square" lIns="0" tIns="0" rIns="0" bIns="0" numCol="1" spcCol="191726" rtlCol="0">
            <a:noAutofit/>
          </a:bodyPr>
          <a:lstStyle/>
          <a:p>
            <a:pPr marL="171456" marR="0" lvl="0" indent="-171456" algn="l" defTabSz="1172037" rtl="0" eaLnBrk="1" fontAlgn="auto" latinLnBrk="0" hangingPunct="1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accent5"/>
              </a:buClr>
              <a:buSzPct val="100000"/>
              <a:buFont typeface="Arial"/>
              <a:buChar char="•"/>
              <a:tabLst/>
              <a:defRPr/>
            </a:pPr>
            <a:r>
              <a:rPr lang="de-DE" sz="1067">
                <a:solidFill>
                  <a:srgbClr val="6F6F6F"/>
                </a:solidFill>
              </a:rPr>
              <a:t>Alles markieren und in eine leere</a:t>
            </a:r>
            <a:r>
              <a:rPr lang="de-DE" sz="1067" baseline="0">
                <a:solidFill>
                  <a:srgbClr val="6F6F6F"/>
                </a:solidFill>
              </a:rPr>
              <a:t> </a:t>
            </a:r>
            <a:r>
              <a:rPr lang="de-DE" sz="1067">
                <a:solidFill>
                  <a:srgbClr val="6F6F6F"/>
                </a:solidFill>
              </a:rPr>
              <a:t>Präsentations-Seite kopieren. </a:t>
            </a:r>
            <a:r>
              <a:rPr lang="de-DE" sz="1067" i="1">
                <a:solidFill>
                  <a:srgbClr val="6F6F6F"/>
                </a:solidFill>
              </a:rPr>
              <a:t>Mark </a:t>
            </a:r>
            <a:r>
              <a:rPr lang="de-DE" sz="1067" i="1" err="1">
                <a:solidFill>
                  <a:srgbClr val="6F6F6F"/>
                </a:solidFill>
              </a:rPr>
              <a:t>everything</a:t>
            </a:r>
            <a:r>
              <a:rPr lang="de-DE" sz="1067" i="1">
                <a:solidFill>
                  <a:srgbClr val="6F6F6F"/>
                </a:solidFill>
              </a:rPr>
              <a:t> </a:t>
            </a:r>
            <a:r>
              <a:rPr lang="de-DE" sz="1067" i="1" err="1">
                <a:solidFill>
                  <a:srgbClr val="6F6F6F"/>
                </a:solidFill>
              </a:rPr>
              <a:t>and</a:t>
            </a:r>
            <a:r>
              <a:rPr lang="de-DE" sz="1067" i="1">
                <a:solidFill>
                  <a:srgbClr val="6F6F6F"/>
                </a:solidFill>
              </a:rPr>
              <a:t> </a:t>
            </a:r>
            <a:r>
              <a:rPr lang="de-DE" sz="1067" i="1" err="1">
                <a:solidFill>
                  <a:srgbClr val="6F6F6F"/>
                </a:solidFill>
              </a:rPr>
              <a:t>copy</a:t>
            </a:r>
            <a:r>
              <a:rPr lang="de-DE" sz="1067" i="1">
                <a:solidFill>
                  <a:srgbClr val="6F6F6F"/>
                </a:solidFill>
              </a:rPr>
              <a:t> </a:t>
            </a:r>
            <a:r>
              <a:rPr lang="de-DE" sz="1067" i="1" err="1">
                <a:solidFill>
                  <a:srgbClr val="6F6F6F"/>
                </a:solidFill>
              </a:rPr>
              <a:t>into</a:t>
            </a:r>
            <a:r>
              <a:rPr lang="de-DE" sz="1067" i="1">
                <a:solidFill>
                  <a:srgbClr val="6F6F6F"/>
                </a:solidFill>
              </a:rPr>
              <a:t> a </a:t>
            </a:r>
            <a:r>
              <a:rPr lang="de-DE" sz="1067" i="1" err="1">
                <a:solidFill>
                  <a:srgbClr val="6F6F6F"/>
                </a:solidFill>
              </a:rPr>
              <a:t>blanc</a:t>
            </a:r>
            <a:r>
              <a:rPr lang="de-DE" sz="1067" i="1">
                <a:solidFill>
                  <a:srgbClr val="6F6F6F"/>
                </a:solidFill>
              </a:rPr>
              <a:t> </a:t>
            </a:r>
            <a:r>
              <a:rPr lang="de-DE" sz="1067" i="1" err="1">
                <a:solidFill>
                  <a:srgbClr val="6F6F6F"/>
                </a:solidFill>
              </a:rPr>
              <a:t>presentation</a:t>
            </a:r>
            <a:r>
              <a:rPr lang="de-DE" sz="1067" i="1">
                <a:solidFill>
                  <a:srgbClr val="6F6F6F"/>
                </a:solidFill>
              </a:rPr>
              <a:t>-site</a:t>
            </a:r>
          </a:p>
          <a:p>
            <a:pPr marL="171456" lvl="0" indent="-171456">
              <a:buClr>
                <a:schemeClr val="accent5"/>
              </a:buClr>
              <a:buFont typeface="Arial"/>
              <a:buChar char="•"/>
            </a:pPr>
            <a:endParaRPr lang="de-DE" sz="1067">
              <a:solidFill>
                <a:srgbClr val="6F6F6F"/>
              </a:solidFill>
            </a:endParaRPr>
          </a:p>
          <a:p>
            <a:pPr marL="171456" marR="0" lvl="0" indent="-171456" algn="l" defTabSz="11720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Tx/>
              <a:buFont typeface="Arial"/>
              <a:buChar char="•"/>
              <a:tabLst/>
              <a:defRPr/>
            </a:pPr>
            <a:r>
              <a:rPr lang="de-DE" sz="1067">
                <a:solidFill>
                  <a:srgbClr val="6F6F6F"/>
                </a:solidFill>
              </a:rPr>
              <a:t>Rechtsklick auf Balken / Daten bearbeiten.</a:t>
            </a:r>
            <a:r>
              <a:rPr lang="de-DE" sz="1067" baseline="0">
                <a:solidFill>
                  <a:srgbClr val="6F6F6F"/>
                </a:solidFill>
              </a:rPr>
              <a:t> </a:t>
            </a:r>
            <a:r>
              <a:rPr lang="de-DE" sz="1067" i="1" baseline="0" err="1">
                <a:solidFill>
                  <a:srgbClr val="6F6F6F"/>
                </a:solidFill>
              </a:rPr>
              <a:t>R</a:t>
            </a:r>
            <a:r>
              <a:rPr lang="de-DE" sz="1067" i="1" err="1">
                <a:solidFill>
                  <a:srgbClr val="6F6F6F"/>
                </a:solidFill>
              </a:rPr>
              <a:t>ight</a:t>
            </a:r>
            <a:r>
              <a:rPr lang="de-DE" sz="1067" i="1">
                <a:solidFill>
                  <a:srgbClr val="6F6F6F"/>
                </a:solidFill>
              </a:rPr>
              <a:t> klick </a:t>
            </a:r>
            <a:r>
              <a:rPr lang="de-DE" sz="1067" i="1" err="1">
                <a:solidFill>
                  <a:srgbClr val="6F6F6F"/>
                </a:solidFill>
              </a:rPr>
              <a:t>to</a:t>
            </a:r>
            <a:r>
              <a:rPr lang="de-DE" sz="1067" i="1">
                <a:solidFill>
                  <a:srgbClr val="6F6F6F"/>
                </a:solidFill>
              </a:rPr>
              <a:t> a bar </a:t>
            </a:r>
            <a:r>
              <a:rPr lang="de-DE" sz="1067" i="1" baseline="0">
                <a:solidFill>
                  <a:srgbClr val="6F6F6F"/>
                </a:solidFill>
              </a:rPr>
              <a:t>/ </a:t>
            </a:r>
            <a:r>
              <a:rPr lang="de-DE" sz="1067" i="1">
                <a:solidFill>
                  <a:srgbClr val="6F6F6F"/>
                </a:solidFill>
              </a:rPr>
              <a:t>Daten bearbeiten</a:t>
            </a:r>
          </a:p>
          <a:p>
            <a:pPr marL="171456" lvl="0" indent="-171456">
              <a:buClr>
                <a:schemeClr val="accent5"/>
              </a:buClr>
              <a:buFont typeface="Arial"/>
              <a:buChar char="•"/>
            </a:pPr>
            <a:endParaRPr lang="de-DE" sz="1067">
              <a:solidFill>
                <a:srgbClr val="6F6F6F"/>
              </a:solidFill>
            </a:endParaRPr>
          </a:p>
          <a:p>
            <a:pPr marL="171456" marR="0" lvl="0" indent="-171456" algn="l" defTabSz="11720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Tx/>
              <a:buFont typeface="Arial"/>
              <a:buChar char="•"/>
              <a:tabLst/>
              <a:defRPr/>
            </a:pPr>
            <a:r>
              <a:rPr lang="de-DE" sz="1067">
                <a:solidFill>
                  <a:srgbClr val="6F6F6F"/>
                </a:solidFill>
              </a:rPr>
              <a:t>Excel-Tabelle öffnet sich. Daten eintragen. </a:t>
            </a:r>
            <a:r>
              <a:rPr lang="de-DE" sz="1067" i="1">
                <a:solidFill>
                  <a:srgbClr val="6F6F6F"/>
                </a:solidFill>
              </a:rPr>
              <a:t>Excel-</a:t>
            </a:r>
            <a:r>
              <a:rPr lang="de-DE" sz="1067" i="1" err="1">
                <a:solidFill>
                  <a:srgbClr val="6F6F6F"/>
                </a:solidFill>
              </a:rPr>
              <a:t>schedule</a:t>
            </a:r>
            <a:r>
              <a:rPr lang="de-DE" sz="1067" i="1" baseline="0">
                <a:solidFill>
                  <a:srgbClr val="6F6F6F"/>
                </a:solidFill>
              </a:rPr>
              <a:t> </a:t>
            </a:r>
            <a:r>
              <a:rPr lang="de-DE" sz="1067" i="1" baseline="0" err="1">
                <a:solidFill>
                  <a:srgbClr val="6F6F6F"/>
                </a:solidFill>
              </a:rPr>
              <a:t>opens</a:t>
            </a:r>
            <a:r>
              <a:rPr lang="de-DE" sz="1067" i="1" baseline="0">
                <a:solidFill>
                  <a:srgbClr val="6F6F6F"/>
                </a:solidFill>
              </a:rPr>
              <a:t>. </a:t>
            </a:r>
            <a:r>
              <a:rPr lang="de-DE" sz="1067" i="1" err="1">
                <a:solidFill>
                  <a:srgbClr val="6F6F6F"/>
                </a:solidFill>
              </a:rPr>
              <a:t>Sign</a:t>
            </a:r>
            <a:r>
              <a:rPr lang="de-DE" sz="1067" i="1">
                <a:solidFill>
                  <a:srgbClr val="6F6F6F"/>
                </a:solidFill>
              </a:rPr>
              <a:t> in </a:t>
            </a:r>
            <a:r>
              <a:rPr lang="de-DE" sz="1067" i="1" err="1">
                <a:solidFill>
                  <a:srgbClr val="6F6F6F"/>
                </a:solidFill>
              </a:rPr>
              <a:t>data</a:t>
            </a:r>
            <a:r>
              <a:rPr lang="de-DE" sz="1067" i="1">
                <a:solidFill>
                  <a:srgbClr val="6F6F6F"/>
                </a:solidFill>
              </a:rPr>
              <a:t>.</a:t>
            </a:r>
          </a:p>
          <a:p>
            <a:pPr marL="171456" marR="0" lvl="0" indent="-171456" algn="l" defTabSz="11720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Tx/>
              <a:buFont typeface="Arial"/>
              <a:buChar char="•"/>
              <a:tabLst/>
              <a:defRPr/>
            </a:pPr>
            <a:endParaRPr lang="de-DE" sz="1067" i="1">
              <a:solidFill>
                <a:srgbClr val="6F6F6F"/>
              </a:solidFill>
            </a:endParaRPr>
          </a:p>
          <a:p>
            <a:pPr marL="171456" marR="0" lvl="0" indent="-171456" algn="l" defTabSz="11720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Tx/>
              <a:buFont typeface="Arial"/>
              <a:buChar char="•"/>
              <a:tabLst/>
              <a:defRPr/>
            </a:pPr>
            <a:r>
              <a:rPr lang="de-DE" sz="1067" i="0">
                <a:solidFill>
                  <a:srgbClr val="6F6F6F"/>
                </a:solidFill>
              </a:rPr>
              <a:t>Rechtsklick auf Achse</a:t>
            </a:r>
            <a:r>
              <a:rPr lang="de-DE" sz="1067" i="0" baseline="0">
                <a:solidFill>
                  <a:srgbClr val="6F6F6F"/>
                </a:solidFill>
              </a:rPr>
              <a:t> /</a:t>
            </a:r>
            <a:r>
              <a:rPr lang="de-DE" sz="1067" i="0">
                <a:solidFill>
                  <a:srgbClr val="6F6F6F"/>
                </a:solidFill>
              </a:rPr>
              <a:t> Achse formatieren</a:t>
            </a:r>
            <a:r>
              <a:rPr lang="de-DE" sz="1067" i="0" baseline="0">
                <a:solidFill>
                  <a:srgbClr val="6F6F6F"/>
                </a:solidFill>
              </a:rPr>
              <a:t> /</a:t>
            </a:r>
            <a:r>
              <a:rPr lang="de-DE" sz="1067" i="0">
                <a:solidFill>
                  <a:srgbClr val="6F6F6F"/>
                </a:solidFill>
              </a:rPr>
              <a:t> Skalierung. </a:t>
            </a:r>
            <a:r>
              <a:rPr lang="de-DE" sz="1067" i="1" baseline="0" err="1">
                <a:solidFill>
                  <a:srgbClr val="6F6F6F"/>
                </a:solidFill>
              </a:rPr>
              <a:t>R</a:t>
            </a:r>
            <a:r>
              <a:rPr lang="de-DE" sz="1067" i="1" err="1">
                <a:solidFill>
                  <a:srgbClr val="6F6F6F"/>
                </a:solidFill>
              </a:rPr>
              <a:t>ight</a:t>
            </a:r>
            <a:r>
              <a:rPr lang="de-DE" sz="1067" i="1">
                <a:solidFill>
                  <a:srgbClr val="6F6F6F"/>
                </a:solidFill>
              </a:rPr>
              <a:t> klick</a:t>
            </a:r>
            <a:br>
              <a:rPr lang="de-DE" sz="1067" i="1">
                <a:solidFill>
                  <a:srgbClr val="6F6F6F"/>
                </a:solidFill>
              </a:rPr>
            </a:br>
            <a:r>
              <a:rPr lang="de-DE" sz="1067" i="1" err="1">
                <a:solidFill>
                  <a:srgbClr val="6F6F6F"/>
                </a:solidFill>
              </a:rPr>
              <a:t>to</a:t>
            </a:r>
            <a:r>
              <a:rPr lang="de-DE" sz="1067" i="1">
                <a:solidFill>
                  <a:srgbClr val="6F6F6F"/>
                </a:solidFill>
              </a:rPr>
              <a:t> </a:t>
            </a:r>
            <a:r>
              <a:rPr lang="de-DE" sz="1067" i="1" err="1">
                <a:solidFill>
                  <a:srgbClr val="6F6F6F"/>
                </a:solidFill>
              </a:rPr>
              <a:t>axle</a:t>
            </a:r>
            <a:r>
              <a:rPr lang="de-DE" sz="1067" i="1">
                <a:solidFill>
                  <a:srgbClr val="6F6F6F"/>
                </a:solidFill>
              </a:rPr>
              <a:t> </a:t>
            </a:r>
            <a:r>
              <a:rPr lang="de-DE" sz="1067" i="1" baseline="0">
                <a:solidFill>
                  <a:srgbClr val="6F6F6F"/>
                </a:solidFill>
              </a:rPr>
              <a:t>/ </a:t>
            </a:r>
            <a:r>
              <a:rPr lang="de-DE" sz="1067" i="1">
                <a:solidFill>
                  <a:srgbClr val="6F6F6F"/>
                </a:solidFill>
              </a:rPr>
              <a:t>Achse formatieren</a:t>
            </a:r>
            <a:r>
              <a:rPr lang="de-DE" sz="1067" i="1" baseline="0">
                <a:solidFill>
                  <a:srgbClr val="6F6F6F"/>
                </a:solidFill>
              </a:rPr>
              <a:t> /</a:t>
            </a:r>
            <a:r>
              <a:rPr lang="de-DE" sz="1067" i="1">
                <a:solidFill>
                  <a:srgbClr val="6F6F6F"/>
                </a:solidFill>
              </a:rPr>
              <a:t> Skalierung</a:t>
            </a:r>
          </a:p>
        </p:txBody>
      </p:sp>
      <p:sp>
        <p:nvSpPr>
          <p:cNvPr id="11" name="Fußzeilenplatzhalter 2"/>
          <p:cNvSpPr>
            <a:spLocks noGrp="1"/>
          </p:cNvSpPr>
          <p:nvPr>
            <p:ph type="ftr" sz="quarter" idx="3"/>
          </p:nvPr>
        </p:nvSpPr>
        <p:spPr>
          <a:xfrm>
            <a:off x="4122537" y="6192000"/>
            <a:ext cx="7380962" cy="66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6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Ringvorlesung – Digitale Transformation bei Schmitz Cargobull</a:t>
            </a:r>
          </a:p>
        </p:txBody>
      </p:sp>
      <p:sp>
        <p:nvSpPr>
          <p:cNvPr id="12" name="Datumsplatzhalter 4"/>
          <p:cNvSpPr>
            <a:spLocks noGrp="1"/>
          </p:cNvSpPr>
          <p:nvPr>
            <p:ph type="dt" sz="half" idx="2"/>
          </p:nvPr>
        </p:nvSpPr>
        <p:spPr>
          <a:xfrm>
            <a:off x="2520328" y="6191559"/>
            <a:ext cx="1602209" cy="66644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6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17.01.2019</a:t>
            </a:r>
          </a:p>
        </p:txBody>
      </p:sp>
    </p:spTree>
    <p:extLst>
      <p:ext uri="{BB962C8B-B14F-4D97-AF65-F5344CB8AC3E}">
        <p14:creationId xmlns:p14="http://schemas.microsoft.com/office/powerpoint/2010/main" val="377509085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"/>
          <p:cNvSpPr>
            <a:spLocks noGrp="1"/>
          </p:cNvSpPr>
          <p:nvPr>
            <p:ph type="title" hasCustomPrompt="1"/>
          </p:nvPr>
        </p:nvSpPr>
        <p:spPr>
          <a:xfrm>
            <a:off x="2517558" y="651516"/>
            <a:ext cx="9002844" cy="661987"/>
          </a:xfrm>
        </p:spPr>
        <p:txBody>
          <a:bodyPr/>
          <a:lstStyle>
            <a:lvl1pPr>
              <a:defRPr baseline="0">
                <a:solidFill>
                  <a:srgbClr val="6F6F6F"/>
                </a:solidFill>
              </a:defRPr>
            </a:lvl1pPr>
          </a:lstStyle>
          <a:p>
            <a:r>
              <a:rPr lang="de-DE"/>
              <a:t>Kopiervorlage Ring / </a:t>
            </a:r>
            <a:r>
              <a:rPr lang="de-DE" err="1"/>
              <a:t>copy</a:t>
            </a:r>
            <a:r>
              <a:rPr lang="de-DE"/>
              <a:t> </a:t>
            </a:r>
            <a:r>
              <a:rPr lang="de-DE" err="1"/>
              <a:t>sheet</a:t>
            </a:r>
            <a:r>
              <a:rPr lang="de-DE"/>
              <a:t> ring</a:t>
            </a:r>
          </a:p>
        </p:txBody>
      </p:sp>
      <p:sp>
        <p:nvSpPr>
          <p:cNvPr id="5" name="Textplatzhalter 3"/>
          <p:cNvSpPr>
            <a:spLocks noGrp="1"/>
          </p:cNvSpPr>
          <p:nvPr>
            <p:ph type="body" idx="10" hasCustomPrompt="1"/>
          </p:nvPr>
        </p:nvSpPr>
        <p:spPr>
          <a:xfrm>
            <a:off x="649708" y="1624438"/>
            <a:ext cx="1842781" cy="344487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2266">
                <a:solidFill>
                  <a:schemeClr val="tx1"/>
                </a:solidFill>
              </a:defRPr>
            </a:lvl1pPr>
          </a:lstStyle>
          <a:p>
            <a:pPr lvl="0"/>
            <a:r>
              <a:rPr lang="de-DE" err="1"/>
              <a:t>Tutorial</a:t>
            </a:r>
            <a:endParaRPr lang="de-DE"/>
          </a:p>
        </p:txBody>
      </p:sp>
      <p:sp>
        <p:nvSpPr>
          <p:cNvPr id="8" name="Textfeld 7"/>
          <p:cNvSpPr txBox="1"/>
          <p:nvPr userDrawn="1"/>
        </p:nvSpPr>
        <p:spPr>
          <a:xfrm>
            <a:off x="502528" y="2274487"/>
            <a:ext cx="1759955" cy="3915619"/>
          </a:xfrm>
          <a:prstGeom prst="rect">
            <a:avLst/>
          </a:prstGeom>
          <a:noFill/>
        </p:spPr>
        <p:txBody>
          <a:bodyPr wrap="square" lIns="0" tIns="0" rIns="0" bIns="0" numCol="1" spcCol="191726" rtlCol="0">
            <a:noAutofit/>
          </a:bodyPr>
          <a:lstStyle/>
          <a:p>
            <a:pPr marL="171456" marR="0" lvl="0" indent="-171456" algn="l" defTabSz="1172037" rtl="0" eaLnBrk="1" fontAlgn="auto" latinLnBrk="0" hangingPunct="1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accent5"/>
              </a:buClr>
              <a:buSzPct val="100000"/>
              <a:buFont typeface="Arial"/>
              <a:buChar char="•"/>
              <a:tabLst/>
              <a:defRPr/>
            </a:pPr>
            <a:r>
              <a:rPr lang="de-DE" sz="1067">
                <a:solidFill>
                  <a:srgbClr val="6F6F6F"/>
                </a:solidFill>
              </a:rPr>
              <a:t>Alles markieren und in eine leere</a:t>
            </a:r>
            <a:r>
              <a:rPr lang="de-DE" sz="1067" baseline="0">
                <a:solidFill>
                  <a:srgbClr val="6F6F6F"/>
                </a:solidFill>
              </a:rPr>
              <a:t> </a:t>
            </a:r>
            <a:r>
              <a:rPr lang="de-DE" sz="1067">
                <a:solidFill>
                  <a:srgbClr val="6F6F6F"/>
                </a:solidFill>
              </a:rPr>
              <a:t>Präsentations-Seite kopieren. </a:t>
            </a:r>
            <a:r>
              <a:rPr lang="de-DE" sz="1067" i="1">
                <a:solidFill>
                  <a:srgbClr val="6F6F6F"/>
                </a:solidFill>
              </a:rPr>
              <a:t>Mark </a:t>
            </a:r>
            <a:r>
              <a:rPr lang="de-DE" sz="1067" i="1" err="1">
                <a:solidFill>
                  <a:srgbClr val="6F6F6F"/>
                </a:solidFill>
              </a:rPr>
              <a:t>everything</a:t>
            </a:r>
            <a:r>
              <a:rPr lang="de-DE" sz="1067" i="1">
                <a:solidFill>
                  <a:srgbClr val="6F6F6F"/>
                </a:solidFill>
              </a:rPr>
              <a:t> </a:t>
            </a:r>
            <a:r>
              <a:rPr lang="de-DE" sz="1067" i="1" err="1">
                <a:solidFill>
                  <a:srgbClr val="6F6F6F"/>
                </a:solidFill>
              </a:rPr>
              <a:t>and</a:t>
            </a:r>
            <a:r>
              <a:rPr lang="de-DE" sz="1067" i="1">
                <a:solidFill>
                  <a:srgbClr val="6F6F6F"/>
                </a:solidFill>
              </a:rPr>
              <a:t> </a:t>
            </a:r>
            <a:r>
              <a:rPr lang="de-DE" sz="1067" i="1" err="1">
                <a:solidFill>
                  <a:srgbClr val="6F6F6F"/>
                </a:solidFill>
              </a:rPr>
              <a:t>copy</a:t>
            </a:r>
            <a:r>
              <a:rPr lang="de-DE" sz="1067" i="1">
                <a:solidFill>
                  <a:srgbClr val="6F6F6F"/>
                </a:solidFill>
              </a:rPr>
              <a:t> </a:t>
            </a:r>
            <a:r>
              <a:rPr lang="de-DE" sz="1067" i="1" err="1">
                <a:solidFill>
                  <a:srgbClr val="6F6F6F"/>
                </a:solidFill>
              </a:rPr>
              <a:t>into</a:t>
            </a:r>
            <a:r>
              <a:rPr lang="de-DE" sz="1067" i="1">
                <a:solidFill>
                  <a:srgbClr val="6F6F6F"/>
                </a:solidFill>
              </a:rPr>
              <a:t> a </a:t>
            </a:r>
            <a:r>
              <a:rPr lang="de-DE" sz="1067" i="1" err="1">
                <a:solidFill>
                  <a:srgbClr val="6F6F6F"/>
                </a:solidFill>
              </a:rPr>
              <a:t>blanc</a:t>
            </a:r>
            <a:r>
              <a:rPr lang="de-DE" sz="1067" i="1">
                <a:solidFill>
                  <a:srgbClr val="6F6F6F"/>
                </a:solidFill>
              </a:rPr>
              <a:t> </a:t>
            </a:r>
            <a:r>
              <a:rPr lang="de-DE" sz="1067" i="1" err="1">
                <a:solidFill>
                  <a:srgbClr val="6F6F6F"/>
                </a:solidFill>
              </a:rPr>
              <a:t>presentation</a:t>
            </a:r>
            <a:r>
              <a:rPr lang="de-DE" sz="1067" i="1">
                <a:solidFill>
                  <a:srgbClr val="6F6F6F"/>
                </a:solidFill>
              </a:rPr>
              <a:t>-site</a:t>
            </a:r>
          </a:p>
          <a:p>
            <a:pPr marL="171456" lvl="0" indent="-171456">
              <a:buClr>
                <a:schemeClr val="accent5"/>
              </a:buClr>
              <a:buFont typeface="Arial"/>
              <a:buChar char="•"/>
            </a:pPr>
            <a:endParaRPr lang="de-DE" sz="1067">
              <a:solidFill>
                <a:srgbClr val="6F6F6F"/>
              </a:solidFill>
            </a:endParaRPr>
          </a:p>
          <a:p>
            <a:pPr marL="171456" marR="0" lvl="0" indent="-171456" algn="l" defTabSz="11720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Tx/>
              <a:buFont typeface="Arial"/>
              <a:buChar char="•"/>
              <a:tabLst/>
              <a:defRPr/>
            </a:pPr>
            <a:r>
              <a:rPr lang="de-DE" sz="1067">
                <a:solidFill>
                  <a:srgbClr val="6F6F6F"/>
                </a:solidFill>
              </a:rPr>
              <a:t>Rechtsklick auf ein Ringsegment / Daten bearbeiten.</a:t>
            </a:r>
            <a:r>
              <a:rPr lang="de-DE" sz="1067" baseline="0">
                <a:solidFill>
                  <a:srgbClr val="6F6F6F"/>
                </a:solidFill>
              </a:rPr>
              <a:t> </a:t>
            </a:r>
            <a:r>
              <a:rPr lang="de-DE" sz="1067" i="1" baseline="0" err="1">
                <a:solidFill>
                  <a:srgbClr val="6F6F6F"/>
                </a:solidFill>
              </a:rPr>
              <a:t>R</a:t>
            </a:r>
            <a:r>
              <a:rPr lang="de-DE" sz="1067" i="1" err="1">
                <a:solidFill>
                  <a:srgbClr val="6F6F6F"/>
                </a:solidFill>
              </a:rPr>
              <a:t>ight</a:t>
            </a:r>
            <a:r>
              <a:rPr lang="de-DE" sz="1067" i="1">
                <a:solidFill>
                  <a:srgbClr val="6F6F6F"/>
                </a:solidFill>
              </a:rPr>
              <a:t> klick </a:t>
            </a:r>
            <a:r>
              <a:rPr lang="de-DE" sz="1067" i="1" err="1">
                <a:solidFill>
                  <a:srgbClr val="6F6F6F"/>
                </a:solidFill>
              </a:rPr>
              <a:t>to</a:t>
            </a:r>
            <a:r>
              <a:rPr lang="de-DE" sz="1067" i="1">
                <a:solidFill>
                  <a:srgbClr val="6F6F6F"/>
                </a:solidFill>
              </a:rPr>
              <a:t> a </a:t>
            </a:r>
            <a:r>
              <a:rPr lang="de-DE" sz="1067" i="1" err="1">
                <a:solidFill>
                  <a:srgbClr val="6F6F6F"/>
                </a:solidFill>
              </a:rPr>
              <a:t>ringsegment</a:t>
            </a:r>
            <a:r>
              <a:rPr lang="de-DE" sz="1067" i="1">
                <a:solidFill>
                  <a:srgbClr val="6F6F6F"/>
                </a:solidFill>
              </a:rPr>
              <a:t> </a:t>
            </a:r>
            <a:r>
              <a:rPr lang="de-DE" sz="1067" i="1" baseline="0">
                <a:solidFill>
                  <a:srgbClr val="6F6F6F"/>
                </a:solidFill>
              </a:rPr>
              <a:t>/ </a:t>
            </a:r>
            <a:r>
              <a:rPr lang="de-DE" sz="1067" i="1">
                <a:solidFill>
                  <a:srgbClr val="6F6F6F"/>
                </a:solidFill>
              </a:rPr>
              <a:t>Daten bearbeiten</a:t>
            </a:r>
          </a:p>
          <a:p>
            <a:pPr marL="171456" lvl="0" indent="-171456">
              <a:buClr>
                <a:schemeClr val="accent5"/>
              </a:buClr>
              <a:buFont typeface="Arial"/>
              <a:buChar char="•"/>
            </a:pPr>
            <a:endParaRPr lang="de-DE" sz="1067">
              <a:solidFill>
                <a:srgbClr val="6F6F6F"/>
              </a:solidFill>
            </a:endParaRPr>
          </a:p>
          <a:p>
            <a:pPr marL="171456" marR="0" lvl="0" indent="-171456" algn="l" defTabSz="11720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Tx/>
              <a:buFont typeface="Arial"/>
              <a:buChar char="•"/>
              <a:tabLst/>
              <a:defRPr/>
            </a:pPr>
            <a:r>
              <a:rPr lang="de-DE" sz="1067">
                <a:solidFill>
                  <a:srgbClr val="6F6F6F"/>
                </a:solidFill>
              </a:rPr>
              <a:t>Excel-Tabelle öffnet sich. </a:t>
            </a:r>
            <a:r>
              <a:rPr lang="de-DE" sz="1067" i="1">
                <a:solidFill>
                  <a:srgbClr val="6F6F6F"/>
                </a:solidFill>
              </a:rPr>
              <a:t>Excel-</a:t>
            </a:r>
            <a:r>
              <a:rPr lang="de-DE" sz="1067" i="1" err="1">
                <a:solidFill>
                  <a:srgbClr val="6F6F6F"/>
                </a:solidFill>
              </a:rPr>
              <a:t>schedule</a:t>
            </a:r>
            <a:r>
              <a:rPr lang="de-DE" sz="1067" i="1" baseline="0">
                <a:solidFill>
                  <a:srgbClr val="6F6F6F"/>
                </a:solidFill>
              </a:rPr>
              <a:t> </a:t>
            </a:r>
            <a:r>
              <a:rPr lang="de-DE" sz="1067" i="1" baseline="0" err="1">
                <a:solidFill>
                  <a:srgbClr val="6F6F6F"/>
                </a:solidFill>
              </a:rPr>
              <a:t>opens</a:t>
            </a:r>
            <a:endParaRPr lang="de-DE" sz="1067" i="1">
              <a:solidFill>
                <a:srgbClr val="6F6F6F"/>
              </a:solidFill>
            </a:endParaRPr>
          </a:p>
          <a:p>
            <a:pPr marL="0" lvl="0" indent="0">
              <a:buClr>
                <a:schemeClr val="accent5"/>
              </a:buClr>
              <a:buFont typeface="Arial"/>
              <a:buNone/>
            </a:pPr>
            <a:endParaRPr lang="de-DE" sz="1067">
              <a:solidFill>
                <a:srgbClr val="6F6F6F"/>
              </a:solidFill>
            </a:endParaRPr>
          </a:p>
          <a:p>
            <a:pPr marL="171456" marR="0" lvl="0" indent="-171456" algn="l" defTabSz="11720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Tx/>
              <a:buFont typeface="Arial"/>
              <a:buChar char="•"/>
              <a:tabLst/>
              <a:defRPr/>
            </a:pPr>
            <a:r>
              <a:rPr lang="de-DE" sz="1067">
                <a:solidFill>
                  <a:srgbClr val="6F6F6F"/>
                </a:solidFill>
              </a:rPr>
              <a:t>Daten in die Farbfonds der Segmente eintragen. </a:t>
            </a:r>
            <a:r>
              <a:rPr lang="de-DE" sz="1067" i="1" err="1">
                <a:solidFill>
                  <a:srgbClr val="6F6F6F"/>
                </a:solidFill>
              </a:rPr>
              <a:t>Sign</a:t>
            </a:r>
            <a:r>
              <a:rPr lang="de-DE" sz="1067" i="1">
                <a:solidFill>
                  <a:srgbClr val="6F6F6F"/>
                </a:solidFill>
              </a:rPr>
              <a:t> in </a:t>
            </a:r>
            <a:r>
              <a:rPr lang="de-DE" sz="1067" i="1" err="1">
                <a:solidFill>
                  <a:srgbClr val="6F6F6F"/>
                </a:solidFill>
              </a:rPr>
              <a:t>data</a:t>
            </a:r>
            <a:r>
              <a:rPr lang="de-DE" sz="1067" i="1">
                <a:solidFill>
                  <a:srgbClr val="6F6F6F"/>
                </a:solidFill>
              </a:rPr>
              <a:t> in </a:t>
            </a:r>
            <a:r>
              <a:rPr lang="de-DE" sz="1067" i="1" err="1">
                <a:solidFill>
                  <a:srgbClr val="6F6F6F"/>
                </a:solidFill>
              </a:rPr>
              <a:t>the</a:t>
            </a:r>
            <a:r>
              <a:rPr lang="de-DE" sz="1067" i="1">
                <a:solidFill>
                  <a:srgbClr val="6F6F6F"/>
                </a:solidFill>
              </a:rPr>
              <a:t> </a:t>
            </a:r>
            <a:r>
              <a:rPr lang="de-DE" sz="1067" i="1" err="1">
                <a:solidFill>
                  <a:srgbClr val="6F6F6F"/>
                </a:solidFill>
              </a:rPr>
              <a:t>coloured</a:t>
            </a:r>
            <a:r>
              <a:rPr lang="de-DE" sz="1067" i="1" baseline="0">
                <a:solidFill>
                  <a:srgbClr val="6F6F6F"/>
                </a:solidFill>
              </a:rPr>
              <a:t> </a:t>
            </a:r>
            <a:r>
              <a:rPr lang="de-DE" sz="1067" i="1" err="1">
                <a:solidFill>
                  <a:srgbClr val="6F6F6F"/>
                </a:solidFill>
              </a:rPr>
              <a:t>fonds</a:t>
            </a:r>
            <a:r>
              <a:rPr lang="de-DE" sz="1067" i="1">
                <a:solidFill>
                  <a:srgbClr val="6F6F6F"/>
                </a:solidFill>
              </a:rPr>
              <a:t> </a:t>
            </a:r>
            <a:r>
              <a:rPr lang="de-DE" sz="1067" i="1" err="1">
                <a:solidFill>
                  <a:srgbClr val="6F6F6F"/>
                </a:solidFill>
              </a:rPr>
              <a:t>of</a:t>
            </a:r>
            <a:r>
              <a:rPr lang="de-DE" sz="1067" i="1">
                <a:solidFill>
                  <a:srgbClr val="6F6F6F"/>
                </a:solidFill>
              </a:rPr>
              <a:t> </a:t>
            </a:r>
            <a:r>
              <a:rPr lang="de-DE" sz="1067" i="1" err="1">
                <a:solidFill>
                  <a:srgbClr val="6F6F6F"/>
                </a:solidFill>
              </a:rPr>
              <a:t>the</a:t>
            </a:r>
            <a:r>
              <a:rPr lang="de-DE" sz="1067" i="1">
                <a:solidFill>
                  <a:srgbClr val="6F6F6F"/>
                </a:solidFill>
              </a:rPr>
              <a:t> </a:t>
            </a:r>
            <a:r>
              <a:rPr lang="de-DE" sz="1067" i="1" err="1">
                <a:solidFill>
                  <a:srgbClr val="6F6F6F"/>
                </a:solidFill>
              </a:rPr>
              <a:t>segments</a:t>
            </a:r>
            <a:endParaRPr lang="de-DE" sz="1067" i="1">
              <a:solidFill>
                <a:srgbClr val="6F6F6F"/>
              </a:solidFill>
            </a:endParaRPr>
          </a:p>
        </p:txBody>
      </p:sp>
      <p:graphicFrame>
        <p:nvGraphicFramePr>
          <p:cNvPr id="26" name="Diagramm 25"/>
          <p:cNvGraphicFramePr/>
          <p:nvPr userDrawn="1"/>
        </p:nvGraphicFramePr>
        <p:xfrm>
          <a:off x="2517558" y="1492099"/>
          <a:ext cx="8317431" cy="47447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7" name="Textplatzhalter 3"/>
          <p:cNvSpPr txBox="1">
            <a:spLocks/>
          </p:cNvSpPr>
          <p:nvPr userDrawn="1"/>
        </p:nvSpPr>
        <p:spPr>
          <a:xfrm>
            <a:off x="8985309" y="2241931"/>
            <a:ext cx="2519691" cy="400935"/>
          </a:xfrm>
          <a:prstGeom prst="rect">
            <a:avLst/>
          </a:prstGeom>
        </p:spPr>
        <p:txBody>
          <a:bodyPr vert="horz" wrap="square" lIns="0" tIns="0" rIns="0" bIns="72000" anchor="t" anchorCtr="0">
            <a:spAutoFit/>
          </a:bodyPr>
          <a:lstStyle>
            <a:lvl1pPr marL="0" indent="0" algn="l" defTabSz="117199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"/>
              </a:spcAft>
              <a:buClr>
                <a:schemeClr val="accent5"/>
              </a:buClr>
              <a:buSzPct val="100000"/>
              <a:buFont typeface="+mj-lt"/>
              <a:buNone/>
              <a:tabLst>
                <a:tab pos="715963" algn="l"/>
              </a:tabLst>
              <a:defRPr lang="de-DE" sz="1600" b="0" i="0" u="none" strike="noStrike" kern="900" spc="0" smtClean="0">
                <a:solidFill>
                  <a:schemeClr val="tx1"/>
                </a:solidFill>
                <a:effectLst/>
                <a:latin typeface="+mn-lt"/>
                <a:ea typeface="+mn-ea"/>
                <a:cs typeface="3ds Light"/>
              </a:defRPr>
            </a:lvl1pPr>
            <a:lvl2pPr marL="533307" marR="0" indent="-234910" algn="l" defTabSz="1171998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 3" panose="05040102010807070707" pitchFamily="18" charset="2"/>
              <a:buChar char="w"/>
              <a:tabLst/>
              <a:defRPr sz="2400" b="0" i="0" kern="900" spc="0" baseline="0">
                <a:solidFill>
                  <a:schemeClr val="tx1"/>
                </a:solidFill>
                <a:latin typeface="+mn-lt"/>
                <a:ea typeface="+mn-ea"/>
                <a:cs typeface="3ds Light"/>
              </a:defRPr>
            </a:lvl2pPr>
            <a:lvl3pPr marL="838053" marR="0" indent="-211630" algn="l" defTabSz="1171998" rtl="0" eaLnBrk="1" fontAlgn="auto" latinLnBrk="0" hangingPunct="1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tx1"/>
              </a:buClr>
              <a:buSzPct val="60000"/>
              <a:buFont typeface="Wingdings 3" panose="05040102010807070707" pitchFamily="18" charset="2"/>
              <a:buChar char="u"/>
              <a:tabLst/>
              <a:defRPr sz="2100" b="0" i="0" kern="900" spc="0">
                <a:solidFill>
                  <a:schemeClr val="tx1"/>
                </a:solidFill>
                <a:latin typeface="+mn-lt"/>
                <a:ea typeface="+mn-ea"/>
                <a:cs typeface="3ds Light"/>
              </a:defRPr>
            </a:lvl3pPr>
            <a:lvl4pPr marL="1142800" indent="-239142" algn="l" defTabSz="1171998" rtl="0" eaLnBrk="1" latinLnBrk="0" hangingPunct="1">
              <a:lnSpc>
                <a:spcPct val="100000"/>
              </a:lnSpc>
              <a:spcBef>
                <a:spcPts val="533"/>
              </a:spcBef>
              <a:buClr>
                <a:schemeClr val="tx1"/>
              </a:buClr>
              <a:buSzPct val="60000"/>
              <a:buFont typeface="Wingdings 3" panose="05040102010807070707" pitchFamily="18" charset="2"/>
              <a:buChar char="w"/>
              <a:defRPr sz="1900" b="0" i="0" kern="900" spc="-93">
                <a:solidFill>
                  <a:schemeClr val="tx1"/>
                </a:solidFill>
                <a:latin typeface="+mn-lt"/>
                <a:ea typeface="+mn-ea"/>
                <a:cs typeface="3ds Light"/>
              </a:defRPr>
            </a:lvl4pPr>
            <a:lvl5pPr marL="1218987" indent="0" algn="l" defTabSz="1371360" rtl="0" eaLnBrk="1" latinLnBrk="0" hangingPunct="1">
              <a:lnSpc>
                <a:spcPct val="100000"/>
              </a:lnSpc>
              <a:spcBef>
                <a:spcPts val="400"/>
              </a:spcBef>
              <a:buFont typeface="Arial"/>
              <a:buNone/>
              <a:defRPr sz="1600" b="0" i="0" kern="1200" baseline="0">
                <a:solidFill>
                  <a:schemeClr val="tx1"/>
                </a:solidFill>
                <a:latin typeface="+mn-lt"/>
                <a:ea typeface="+mn-ea"/>
                <a:cs typeface="3ds Light"/>
              </a:defRPr>
            </a:lvl5pPr>
            <a:lvl6pPr marL="3222993" indent="-292999" algn="l" defTabSz="11719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08991" indent="-292999" algn="l" defTabSz="11719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94989" indent="-292999" algn="l" defTabSz="11719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980988" indent="-292999" algn="l" defTabSz="11719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2133"/>
              <a:t>4,2% Ersatzteile </a:t>
            </a:r>
          </a:p>
        </p:txBody>
      </p:sp>
      <p:sp>
        <p:nvSpPr>
          <p:cNvPr id="28" name="Textplatzhalter 3"/>
          <p:cNvSpPr txBox="1">
            <a:spLocks/>
          </p:cNvSpPr>
          <p:nvPr userDrawn="1"/>
        </p:nvSpPr>
        <p:spPr>
          <a:xfrm>
            <a:off x="8985309" y="2676472"/>
            <a:ext cx="2519691" cy="400935"/>
          </a:xfrm>
          <a:prstGeom prst="rect">
            <a:avLst/>
          </a:prstGeom>
        </p:spPr>
        <p:txBody>
          <a:bodyPr vert="horz" wrap="square" lIns="0" tIns="0" rIns="0" bIns="72000" anchor="t" anchorCtr="0">
            <a:spAutoFit/>
          </a:bodyPr>
          <a:lstStyle>
            <a:lvl1pPr marL="0" indent="0" algn="l" defTabSz="117199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"/>
              </a:spcAft>
              <a:buClr>
                <a:schemeClr val="accent5"/>
              </a:buClr>
              <a:buSzPct val="100000"/>
              <a:buFont typeface="+mj-lt"/>
              <a:buNone/>
              <a:tabLst>
                <a:tab pos="715963" algn="l"/>
              </a:tabLst>
              <a:defRPr lang="de-DE" sz="1600" b="0" i="0" u="none" strike="noStrike" kern="900" spc="0" smtClean="0">
                <a:solidFill>
                  <a:schemeClr val="tx1"/>
                </a:solidFill>
                <a:effectLst/>
                <a:latin typeface="+mn-lt"/>
                <a:ea typeface="+mn-ea"/>
                <a:cs typeface="3ds Light"/>
              </a:defRPr>
            </a:lvl1pPr>
            <a:lvl2pPr marL="533307" marR="0" indent="-234910" algn="l" defTabSz="1171998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 3" panose="05040102010807070707" pitchFamily="18" charset="2"/>
              <a:buChar char="w"/>
              <a:tabLst/>
              <a:defRPr sz="2400" b="0" i="0" kern="900" spc="0" baseline="0">
                <a:solidFill>
                  <a:schemeClr val="tx1"/>
                </a:solidFill>
                <a:latin typeface="+mn-lt"/>
                <a:ea typeface="+mn-ea"/>
                <a:cs typeface="3ds Light"/>
              </a:defRPr>
            </a:lvl2pPr>
            <a:lvl3pPr marL="838053" marR="0" indent="-211630" algn="l" defTabSz="1171998" rtl="0" eaLnBrk="1" fontAlgn="auto" latinLnBrk="0" hangingPunct="1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tx1"/>
              </a:buClr>
              <a:buSzPct val="60000"/>
              <a:buFont typeface="Wingdings 3" panose="05040102010807070707" pitchFamily="18" charset="2"/>
              <a:buChar char="u"/>
              <a:tabLst/>
              <a:defRPr sz="2100" b="0" i="0" kern="900" spc="0">
                <a:solidFill>
                  <a:schemeClr val="tx1"/>
                </a:solidFill>
                <a:latin typeface="+mn-lt"/>
                <a:ea typeface="+mn-ea"/>
                <a:cs typeface="3ds Light"/>
              </a:defRPr>
            </a:lvl3pPr>
            <a:lvl4pPr marL="1142800" indent="-239142" algn="l" defTabSz="1171998" rtl="0" eaLnBrk="1" latinLnBrk="0" hangingPunct="1">
              <a:lnSpc>
                <a:spcPct val="100000"/>
              </a:lnSpc>
              <a:spcBef>
                <a:spcPts val="533"/>
              </a:spcBef>
              <a:buClr>
                <a:schemeClr val="tx1"/>
              </a:buClr>
              <a:buSzPct val="60000"/>
              <a:buFont typeface="Wingdings 3" panose="05040102010807070707" pitchFamily="18" charset="2"/>
              <a:buChar char="w"/>
              <a:defRPr sz="1900" b="0" i="0" kern="900" spc="-93">
                <a:solidFill>
                  <a:schemeClr val="tx1"/>
                </a:solidFill>
                <a:latin typeface="+mn-lt"/>
                <a:ea typeface="+mn-ea"/>
                <a:cs typeface="3ds Light"/>
              </a:defRPr>
            </a:lvl4pPr>
            <a:lvl5pPr marL="1218987" indent="0" algn="l" defTabSz="1371360" rtl="0" eaLnBrk="1" latinLnBrk="0" hangingPunct="1">
              <a:lnSpc>
                <a:spcPct val="100000"/>
              </a:lnSpc>
              <a:spcBef>
                <a:spcPts val="400"/>
              </a:spcBef>
              <a:buFont typeface="Arial"/>
              <a:buNone/>
              <a:defRPr sz="1600" b="0" i="0" kern="1200" baseline="0">
                <a:solidFill>
                  <a:schemeClr val="tx1"/>
                </a:solidFill>
                <a:latin typeface="+mn-lt"/>
                <a:ea typeface="+mn-ea"/>
                <a:cs typeface="3ds Light"/>
              </a:defRPr>
            </a:lvl5pPr>
            <a:lvl6pPr marL="3222993" indent="-292999" algn="l" defTabSz="11719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08991" indent="-292999" algn="l" defTabSz="11719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94989" indent="-292999" algn="l" defTabSz="11719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980988" indent="-292999" algn="l" defTabSz="11719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de-DE" sz="2133"/>
              <a:t>4,3% Sonstige </a:t>
            </a:r>
          </a:p>
        </p:txBody>
      </p:sp>
      <p:sp>
        <p:nvSpPr>
          <p:cNvPr id="29" name="Textplatzhalter 3"/>
          <p:cNvSpPr txBox="1">
            <a:spLocks/>
          </p:cNvSpPr>
          <p:nvPr userDrawn="1"/>
        </p:nvSpPr>
        <p:spPr>
          <a:xfrm>
            <a:off x="8985309" y="3111013"/>
            <a:ext cx="2519691" cy="400935"/>
          </a:xfrm>
          <a:prstGeom prst="rect">
            <a:avLst/>
          </a:prstGeom>
        </p:spPr>
        <p:txBody>
          <a:bodyPr vert="horz" wrap="square" lIns="0" tIns="0" rIns="0" bIns="72000" anchor="t" anchorCtr="0">
            <a:spAutoFit/>
          </a:bodyPr>
          <a:lstStyle>
            <a:lvl1pPr marL="0" indent="0" algn="l" defTabSz="117199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"/>
              </a:spcAft>
              <a:buClr>
                <a:schemeClr val="accent5"/>
              </a:buClr>
              <a:buSzPct val="100000"/>
              <a:buFont typeface="+mj-lt"/>
              <a:buNone/>
              <a:tabLst>
                <a:tab pos="715963" algn="l"/>
              </a:tabLst>
              <a:defRPr lang="de-DE" sz="1600" b="0" i="0" u="none" strike="noStrike" kern="900" spc="0" smtClean="0">
                <a:solidFill>
                  <a:schemeClr val="tx1"/>
                </a:solidFill>
                <a:effectLst/>
                <a:latin typeface="+mn-lt"/>
                <a:ea typeface="+mn-ea"/>
                <a:cs typeface="3ds Light"/>
              </a:defRPr>
            </a:lvl1pPr>
            <a:lvl2pPr marL="533307" marR="0" indent="-234910" algn="l" defTabSz="1171998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 3" panose="05040102010807070707" pitchFamily="18" charset="2"/>
              <a:buChar char="w"/>
              <a:tabLst/>
              <a:defRPr sz="2400" b="0" i="0" kern="900" spc="0" baseline="0">
                <a:solidFill>
                  <a:schemeClr val="tx1"/>
                </a:solidFill>
                <a:latin typeface="+mn-lt"/>
                <a:ea typeface="+mn-ea"/>
                <a:cs typeface="3ds Light"/>
              </a:defRPr>
            </a:lvl2pPr>
            <a:lvl3pPr marL="838053" marR="0" indent="-211630" algn="l" defTabSz="1171998" rtl="0" eaLnBrk="1" fontAlgn="auto" latinLnBrk="0" hangingPunct="1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tx1"/>
              </a:buClr>
              <a:buSzPct val="60000"/>
              <a:buFont typeface="Wingdings 3" panose="05040102010807070707" pitchFamily="18" charset="2"/>
              <a:buChar char="u"/>
              <a:tabLst/>
              <a:defRPr sz="2100" b="0" i="0" kern="900" spc="0">
                <a:solidFill>
                  <a:schemeClr val="tx1"/>
                </a:solidFill>
                <a:latin typeface="+mn-lt"/>
                <a:ea typeface="+mn-ea"/>
                <a:cs typeface="3ds Light"/>
              </a:defRPr>
            </a:lvl3pPr>
            <a:lvl4pPr marL="1142800" indent="-239142" algn="l" defTabSz="1171998" rtl="0" eaLnBrk="1" latinLnBrk="0" hangingPunct="1">
              <a:lnSpc>
                <a:spcPct val="100000"/>
              </a:lnSpc>
              <a:spcBef>
                <a:spcPts val="533"/>
              </a:spcBef>
              <a:buClr>
                <a:schemeClr val="tx1"/>
              </a:buClr>
              <a:buSzPct val="60000"/>
              <a:buFont typeface="Wingdings 3" panose="05040102010807070707" pitchFamily="18" charset="2"/>
              <a:buChar char="w"/>
              <a:defRPr sz="1900" b="0" i="0" kern="900" spc="-93">
                <a:solidFill>
                  <a:schemeClr val="tx1"/>
                </a:solidFill>
                <a:latin typeface="+mn-lt"/>
                <a:ea typeface="+mn-ea"/>
                <a:cs typeface="3ds Light"/>
              </a:defRPr>
            </a:lvl4pPr>
            <a:lvl5pPr marL="1218987" indent="0" algn="l" defTabSz="1371360" rtl="0" eaLnBrk="1" latinLnBrk="0" hangingPunct="1">
              <a:lnSpc>
                <a:spcPct val="100000"/>
              </a:lnSpc>
              <a:spcBef>
                <a:spcPts val="400"/>
              </a:spcBef>
              <a:buFont typeface="Arial"/>
              <a:buNone/>
              <a:defRPr sz="1600" b="0" i="0" kern="1200" baseline="0">
                <a:solidFill>
                  <a:schemeClr val="tx1"/>
                </a:solidFill>
                <a:latin typeface="+mn-lt"/>
                <a:ea typeface="+mn-ea"/>
                <a:cs typeface="3ds Light"/>
              </a:defRPr>
            </a:lvl5pPr>
            <a:lvl6pPr marL="3222993" indent="-292999" algn="l" defTabSz="11719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08991" indent="-292999" algn="l" defTabSz="11719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94989" indent="-292999" algn="l" defTabSz="11719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980988" indent="-292999" algn="l" defTabSz="11719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de-DE" sz="2133"/>
              <a:t>5,5% Sattelkipper </a:t>
            </a:r>
          </a:p>
        </p:txBody>
      </p:sp>
      <p:sp>
        <p:nvSpPr>
          <p:cNvPr id="30" name="Textplatzhalter 3"/>
          <p:cNvSpPr txBox="1">
            <a:spLocks/>
          </p:cNvSpPr>
          <p:nvPr userDrawn="1"/>
        </p:nvSpPr>
        <p:spPr>
          <a:xfrm>
            <a:off x="8985309" y="3545555"/>
            <a:ext cx="2519691" cy="400935"/>
          </a:xfrm>
          <a:prstGeom prst="rect">
            <a:avLst/>
          </a:prstGeom>
        </p:spPr>
        <p:txBody>
          <a:bodyPr vert="horz" wrap="square" lIns="0" tIns="0" rIns="0" bIns="72000" anchor="t" anchorCtr="0">
            <a:spAutoFit/>
          </a:bodyPr>
          <a:lstStyle>
            <a:lvl1pPr marL="0" indent="0" algn="l" defTabSz="117199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"/>
              </a:spcAft>
              <a:buClr>
                <a:schemeClr val="accent5"/>
              </a:buClr>
              <a:buSzPct val="100000"/>
              <a:buFont typeface="+mj-lt"/>
              <a:buNone/>
              <a:tabLst>
                <a:tab pos="715963" algn="l"/>
              </a:tabLst>
              <a:defRPr lang="de-DE" sz="1600" b="0" i="0" u="none" strike="noStrike" kern="900" spc="0" smtClean="0">
                <a:solidFill>
                  <a:schemeClr val="tx1"/>
                </a:solidFill>
                <a:effectLst/>
                <a:latin typeface="+mn-lt"/>
                <a:ea typeface="+mn-ea"/>
                <a:cs typeface="3ds Light"/>
              </a:defRPr>
            </a:lvl1pPr>
            <a:lvl2pPr marL="533307" marR="0" indent="-234910" algn="l" defTabSz="1171998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 3" panose="05040102010807070707" pitchFamily="18" charset="2"/>
              <a:buChar char="w"/>
              <a:tabLst/>
              <a:defRPr sz="2400" b="0" i="0" kern="900" spc="0" baseline="0">
                <a:solidFill>
                  <a:schemeClr val="tx1"/>
                </a:solidFill>
                <a:latin typeface="+mn-lt"/>
                <a:ea typeface="+mn-ea"/>
                <a:cs typeface="3ds Light"/>
              </a:defRPr>
            </a:lvl2pPr>
            <a:lvl3pPr marL="838053" marR="0" indent="-211630" algn="l" defTabSz="1171998" rtl="0" eaLnBrk="1" fontAlgn="auto" latinLnBrk="0" hangingPunct="1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tx1"/>
              </a:buClr>
              <a:buSzPct val="60000"/>
              <a:buFont typeface="Wingdings 3" panose="05040102010807070707" pitchFamily="18" charset="2"/>
              <a:buChar char="u"/>
              <a:tabLst/>
              <a:defRPr sz="2100" b="0" i="0" kern="900" spc="0">
                <a:solidFill>
                  <a:schemeClr val="tx1"/>
                </a:solidFill>
                <a:latin typeface="+mn-lt"/>
                <a:ea typeface="+mn-ea"/>
                <a:cs typeface="3ds Light"/>
              </a:defRPr>
            </a:lvl3pPr>
            <a:lvl4pPr marL="1142800" indent="-239142" algn="l" defTabSz="1171998" rtl="0" eaLnBrk="1" latinLnBrk="0" hangingPunct="1">
              <a:lnSpc>
                <a:spcPct val="100000"/>
              </a:lnSpc>
              <a:spcBef>
                <a:spcPts val="533"/>
              </a:spcBef>
              <a:buClr>
                <a:schemeClr val="tx1"/>
              </a:buClr>
              <a:buSzPct val="60000"/>
              <a:buFont typeface="Wingdings 3" panose="05040102010807070707" pitchFamily="18" charset="2"/>
              <a:buChar char="w"/>
              <a:defRPr sz="1900" b="0" i="0" kern="900" spc="-93">
                <a:solidFill>
                  <a:schemeClr val="tx1"/>
                </a:solidFill>
                <a:latin typeface="+mn-lt"/>
                <a:ea typeface="+mn-ea"/>
                <a:cs typeface="3ds Light"/>
              </a:defRPr>
            </a:lvl4pPr>
            <a:lvl5pPr marL="1218987" indent="0" algn="l" defTabSz="1371360" rtl="0" eaLnBrk="1" latinLnBrk="0" hangingPunct="1">
              <a:lnSpc>
                <a:spcPct val="100000"/>
              </a:lnSpc>
              <a:spcBef>
                <a:spcPts val="400"/>
              </a:spcBef>
              <a:buFont typeface="Arial"/>
              <a:buNone/>
              <a:defRPr sz="1600" b="0" i="0" kern="1200" baseline="0">
                <a:solidFill>
                  <a:schemeClr val="tx1"/>
                </a:solidFill>
                <a:latin typeface="+mn-lt"/>
                <a:ea typeface="+mn-ea"/>
                <a:cs typeface="3ds Light"/>
              </a:defRPr>
            </a:lvl5pPr>
            <a:lvl6pPr marL="3222993" indent="-292999" algn="l" defTabSz="11719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08991" indent="-292999" algn="l" defTabSz="11719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94989" indent="-292999" algn="l" defTabSz="11719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980988" indent="-292999" algn="l" defTabSz="11719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de-DE" sz="2133"/>
              <a:t>6,0% Handelsware </a:t>
            </a:r>
          </a:p>
        </p:txBody>
      </p:sp>
      <p:sp>
        <p:nvSpPr>
          <p:cNvPr id="31" name="Textplatzhalter 3"/>
          <p:cNvSpPr txBox="1">
            <a:spLocks/>
          </p:cNvSpPr>
          <p:nvPr userDrawn="1"/>
        </p:nvSpPr>
        <p:spPr>
          <a:xfrm>
            <a:off x="8985309" y="3980095"/>
            <a:ext cx="2519691" cy="400935"/>
          </a:xfrm>
          <a:prstGeom prst="rect">
            <a:avLst/>
          </a:prstGeom>
        </p:spPr>
        <p:txBody>
          <a:bodyPr vert="horz" wrap="square" lIns="0" tIns="0" rIns="0" bIns="72000" anchor="t" anchorCtr="0">
            <a:spAutoFit/>
          </a:bodyPr>
          <a:lstStyle>
            <a:lvl1pPr marL="0" indent="0" algn="l" defTabSz="117199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"/>
              </a:spcAft>
              <a:buClr>
                <a:schemeClr val="accent5"/>
              </a:buClr>
              <a:buSzPct val="100000"/>
              <a:buFont typeface="+mj-lt"/>
              <a:buNone/>
              <a:tabLst>
                <a:tab pos="715963" algn="l"/>
              </a:tabLst>
              <a:defRPr lang="de-DE" sz="1600" b="0" i="0" u="none" strike="noStrike" kern="900" spc="0" smtClean="0">
                <a:solidFill>
                  <a:schemeClr val="tx1"/>
                </a:solidFill>
                <a:effectLst/>
                <a:latin typeface="+mn-lt"/>
                <a:ea typeface="+mn-ea"/>
                <a:cs typeface="3ds Light"/>
              </a:defRPr>
            </a:lvl1pPr>
            <a:lvl2pPr marL="533307" marR="0" indent="-234910" algn="l" defTabSz="1171998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 3" panose="05040102010807070707" pitchFamily="18" charset="2"/>
              <a:buChar char="w"/>
              <a:tabLst/>
              <a:defRPr sz="2400" b="0" i="0" kern="900" spc="0" baseline="0">
                <a:solidFill>
                  <a:schemeClr val="tx1"/>
                </a:solidFill>
                <a:latin typeface="+mn-lt"/>
                <a:ea typeface="+mn-ea"/>
                <a:cs typeface="3ds Light"/>
              </a:defRPr>
            </a:lvl2pPr>
            <a:lvl3pPr marL="838053" marR="0" indent="-211630" algn="l" defTabSz="1171998" rtl="0" eaLnBrk="1" fontAlgn="auto" latinLnBrk="0" hangingPunct="1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tx1"/>
              </a:buClr>
              <a:buSzPct val="60000"/>
              <a:buFont typeface="Wingdings 3" panose="05040102010807070707" pitchFamily="18" charset="2"/>
              <a:buChar char="u"/>
              <a:tabLst/>
              <a:defRPr sz="2100" b="0" i="0" kern="900" spc="0">
                <a:solidFill>
                  <a:schemeClr val="tx1"/>
                </a:solidFill>
                <a:latin typeface="+mn-lt"/>
                <a:ea typeface="+mn-ea"/>
                <a:cs typeface="3ds Light"/>
              </a:defRPr>
            </a:lvl3pPr>
            <a:lvl4pPr marL="1142800" indent="-239142" algn="l" defTabSz="1171998" rtl="0" eaLnBrk="1" latinLnBrk="0" hangingPunct="1">
              <a:lnSpc>
                <a:spcPct val="100000"/>
              </a:lnSpc>
              <a:spcBef>
                <a:spcPts val="533"/>
              </a:spcBef>
              <a:buClr>
                <a:schemeClr val="tx1"/>
              </a:buClr>
              <a:buSzPct val="60000"/>
              <a:buFont typeface="Wingdings 3" panose="05040102010807070707" pitchFamily="18" charset="2"/>
              <a:buChar char="w"/>
              <a:defRPr sz="1900" b="0" i="0" kern="900" spc="-93">
                <a:solidFill>
                  <a:schemeClr val="tx1"/>
                </a:solidFill>
                <a:latin typeface="+mn-lt"/>
                <a:ea typeface="+mn-ea"/>
                <a:cs typeface="3ds Light"/>
              </a:defRPr>
            </a:lvl4pPr>
            <a:lvl5pPr marL="1218987" indent="0" algn="l" defTabSz="1371360" rtl="0" eaLnBrk="1" latinLnBrk="0" hangingPunct="1">
              <a:lnSpc>
                <a:spcPct val="100000"/>
              </a:lnSpc>
              <a:spcBef>
                <a:spcPts val="400"/>
              </a:spcBef>
              <a:buFont typeface="Arial"/>
              <a:buNone/>
              <a:defRPr sz="1600" b="0" i="0" kern="1200" baseline="0">
                <a:solidFill>
                  <a:schemeClr val="tx1"/>
                </a:solidFill>
                <a:latin typeface="+mn-lt"/>
                <a:ea typeface="+mn-ea"/>
                <a:cs typeface="3ds Light"/>
              </a:defRPr>
            </a:lvl5pPr>
            <a:lvl6pPr marL="3222993" indent="-292999" algn="l" defTabSz="11719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08991" indent="-292999" algn="l" defTabSz="11719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94989" indent="-292999" algn="l" defTabSz="11719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980988" indent="-292999" algn="l" defTabSz="11719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de-DE" sz="2133"/>
              <a:t>35,9% Sattelpritsche </a:t>
            </a:r>
          </a:p>
        </p:txBody>
      </p:sp>
      <p:cxnSp>
        <p:nvCxnSpPr>
          <p:cNvPr id="32" name="Gewinkelte Verbindung 31"/>
          <p:cNvCxnSpPr/>
          <p:nvPr userDrawn="1"/>
        </p:nvCxnSpPr>
        <p:spPr>
          <a:xfrm rot="10800000" flipV="1">
            <a:off x="6528106" y="2403152"/>
            <a:ext cx="2203169" cy="1"/>
          </a:xfrm>
          <a:prstGeom prst="bentConnector3">
            <a:avLst>
              <a:gd name="adj1" fmla="val 50000"/>
            </a:avLst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Gewinkelte Verbindung 32"/>
          <p:cNvCxnSpPr/>
          <p:nvPr userDrawn="1"/>
        </p:nvCxnSpPr>
        <p:spPr>
          <a:xfrm rot="10800000">
            <a:off x="7011103" y="2834760"/>
            <a:ext cx="1720173" cy="1"/>
          </a:xfrm>
          <a:prstGeom prst="bentConnector3">
            <a:avLst>
              <a:gd name="adj1" fmla="val 50000"/>
            </a:avLst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Gewinkelte Verbindung 33"/>
          <p:cNvCxnSpPr/>
          <p:nvPr userDrawn="1"/>
        </p:nvCxnSpPr>
        <p:spPr>
          <a:xfrm rot="10800000" flipV="1">
            <a:off x="7500029" y="3266367"/>
            <a:ext cx="1231250" cy="0"/>
          </a:xfrm>
          <a:prstGeom prst="bentConnector3">
            <a:avLst>
              <a:gd name="adj1" fmla="val 50000"/>
            </a:avLst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Gewinkelte Verbindung 34"/>
          <p:cNvCxnSpPr/>
          <p:nvPr userDrawn="1"/>
        </p:nvCxnSpPr>
        <p:spPr>
          <a:xfrm rot="10800000" flipV="1">
            <a:off x="7804055" y="3697973"/>
            <a:ext cx="927225" cy="0"/>
          </a:xfrm>
          <a:prstGeom prst="bentConnector3">
            <a:avLst>
              <a:gd name="adj1" fmla="val 50000"/>
            </a:avLst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Gewinkelte Verbindung 35"/>
          <p:cNvCxnSpPr/>
          <p:nvPr userDrawn="1"/>
        </p:nvCxnSpPr>
        <p:spPr>
          <a:xfrm rot="10800000">
            <a:off x="7909909" y="4129581"/>
            <a:ext cx="821370" cy="3"/>
          </a:xfrm>
          <a:prstGeom prst="bentConnector3">
            <a:avLst>
              <a:gd name="adj1" fmla="val 50000"/>
            </a:avLst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7" name="Textplatzhalter 3"/>
          <p:cNvSpPr txBox="1">
            <a:spLocks/>
          </p:cNvSpPr>
          <p:nvPr userDrawn="1"/>
        </p:nvSpPr>
        <p:spPr>
          <a:xfrm>
            <a:off x="2517557" y="2241931"/>
            <a:ext cx="2519691" cy="400935"/>
          </a:xfrm>
          <a:prstGeom prst="rect">
            <a:avLst/>
          </a:prstGeom>
        </p:spPr>
        <p:txBody>
          <a:bodyPr vert="horz" wrap="square" lIns="0" tIns="0" rIns="0" bIns="72000" anchor="t" anchorCtr="0">
            <a:spAutoFit/>
          </a:bodyPr>
          <a:lstStyle>
            <a:lvl1pPr marL="0" indent="0" algn="l" defTabSz="117199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"/>
              </a:spcAft>
              <a:buClr>
                <a:schemeClr val="accent5"/>
              </a:buClr>
              <a:buSzPct val="100000"/>
              <a:buFont typeface="+mj-lt"/>
              <a:buNone/>
              <a:tabLst>
                <a:tab pos="715963" algn="l"/>
              </a:tabLst>
              <a:defRPr lang="de-DE" sz="1600" b="0" i="0" u="none" strike="noStrike" kern="900" spc="0" smtClean="0">
                <a:solidFill>
                  <a:schemeClr val="tx1"/>
                </a:solidFill>
                <a:effectLst/>
                <a:latin typeface="+mn-lt"/>
                <a:ea typeface="+mn-ea"/>
                <a:cs typeface="3ds Light"/>
              </a:defRPr>
            </a:lvl1pPr>
            <a:lvl2pPr marL="533307" marR="0" indent="-234910" algn="l" defTabSz="1171998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 3" panose="05040102010807070707" pitchFamily="18" charset="2"/>
              <a:buChar char="w"/>
              <a:tabLst/>
              <a:defRPr sz="2400" b="0" i="0" kern="900" spc="0" baseline="0">
                <a:solidFill>
                  <a:schemeClr val="tx1"/>
                </a:solidFill>
                <a:latin typeface="+mn-lt"/>
                <a:ea typeface="+mn-ea"/>
                <a:cs typeface="3ds Light"/>
              </a:defRPr>
            </a:lvl2pPr>
            <a:lvl3pPr marL="838053" marR="0" indent="-211630" algn="l" defTabSz="1171998" rtl="0" eaLnBrk="1" fontAlgn="auto" latinLnBrk="0" hangingPunct="1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tx1"/>
              </a:buClr>
              <a:buSzPct val="60000"/>
              <a:buFont typeface="Wingdings 3" panose="05040102010807070707" pitchFamily="18" charset="2"/>
              <a:buChar char="u"/>
              <a:tabLst/>
              <a:defRPr sz="2100" b="0" i="0" kern="900" spc="0">
                <a:solidFill>
                  <a:schemeClr val="tx1"/>
                </a:solidFill>
                <a:latin typeface="+mn-lt"/>
                <a:ea typeface="+mn-ea"/>
                <a:cs typeface="3ds Light"/>
              </a:defRPr>
            </a:lvl3pPr>
            <a:lvl4pPr marL="1142800" indent="-239142" algn="l" defTabSz="1171998" rtl="0" eaLnBrk="1" latinLnBrk="0" hangingPunct="1">
              <a:lnSpc>
                <a:spcPct val="100000"/>
              </a:lnSpc>
              <a:spcBef>
                <a:spcPts val="533"/>
              </a:spcBef>
              <a:buClr>
                <a:schemeClr val="tx1"/>
              </a:buClr>
              <a:buSzPct val="60000"/>
              <a:buFont typeface="Wingdings 3" panose="05040102010807070707" pitchFamily="18" charset="2"/>
              <a:buChar char="w"/>
              <a:defRPr sz="1900" b="0" i="0" kern="900" spc="-93">
                <a:solidFill>
                  <a:schemeClr val="tx1"/>
                </a:solidFill>
                <a:latin typeface="+mn-lt"/>
                <a:ea typeface="+mn-ea"/>
                <a:cs typeface="3ds Light"/>
              </a:defRPr>
            </a:lvl4pPr>
            <a:lvl5pPr marL="1218987" indent="0" algn="l" defTabSz="1371360" rtl="0" eaLnBrk="1" latinLnBrk="0" hangingPunct="1">
              <a:lnSpc>
                <a:spcPct val="100000"/>
              </a:lnSpc>
              <a:spcBef>
                <a:spcPts val="400"/>
              </a:spcBef>
              <a:buFont typeface="Arial"/>
              <a:buNone/>
              <a:defRPr sz="1600" b="0" i="0" kern="1200" baseline="0">
                <a:solidFill>
                  <a:schemeClr val="tx1"/>
                </a:solidFill>
                <a:latin typeface="+mn-lt"/>
                <a:ea typeface="+mn-ea"/>
                <a:cs typeface="3ds Light"/>
              </a:defRPr>
            </a:lvl5pPr>
            <a:lvl6pPr marL="3222993" indent="-292999" algn="l" defTabSz="11719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08991" indent="-292999" algn="l" defTabSz="11719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94989" indent="-292999" algn="l" defTabSz="11719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980988" indent="-292999" algn="l" defTabSz="11719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de-DE" sz="2133"/>
              <a:t>0,5% Leasing </a:t>
            </a:r>
          </a:p>
        </p:txBody>
      </p:sp>
      <p:sp>
        <p:nvSpPr>
          <p:cNvPr id="38" name="Textplatzhalter 3"/>
          <p:cNvSpPr txBox="1">
            <a:spLocks/>
          </p:cNvSpPr>
          <p:nvPr userDrawn="1"/>
        </p:nvSpPr>
        <p:spPr>
          <a:xfrm>
            <a:off x="2517557" y="2676472"/>
            <a:ext cx="2519691" cy="400935"/>
          </a:xfrm>
          <a:prstGeom prst="rect">
            <a:avLst/>
          </a:prstGeom>
        </p:spPr>
        <p:txBody>
          <a:bodyPr vert="horz" wrap="square" lIns="0" tIns="0" rIns="0" bIns="72000" anchor="t" anchorCtr="0">
            <a:spAutoFit/>
          </a:bodyPr>
          <a:lstStyle>
            <a:lvl1pPr marL="0" indent="0" algn="l" defTabSz="117199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"/>
              </a:spcAft>
              <a:buClr>
                <a:schemeClr val="accent5"/>
              </a:buClr>
              <a:buSzPct val="100000"/>
              <a:buFont typeface="+mj-lt"/>
              <a:buNone/>
              <a:tabLst>
                <a:tab pos="715963" algn="l"/>
              </a:tabLst>
              <a:defRPr lang="de-DE" sz="1600" b="0" i="0" u="none" strike="noStrike" kern="900" spc="0" smtClean="0">
                <a:solidFill>
                  <a:schemeClr val="tx1"/>
                </a:solidFill>
                <a:effectLst/>
                <a:latin typeface="+mn-lt"/>
                <a:ea typeface="+mn-ea"/>
                <a:cs typeface="3ds Light"/>
              </a:defRPr>
            </a:lvl1pPr>
            <a:lvl2pPr marL="533307" marR="0" indent="-234910" algn="l" defTabSz="1171998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 3" panose="05040102010807070707" pitchFamily="18" charset="2"/>
              <a:buChar char="w"/>
              <a:tabLst/>
              <a:defRPr sz="2400" b="0" i="0" kern="900" spc="0" baseline="0">
                <a:solidFill>
                  <a:schemeClr val="tx1"/>
                </a:solidFill>
                <a:latin typeface="+mn-lt"/>
                <a:ea typeface="+mn-ea"/>
                <a:cs typeface="3ds Light"/>
              </a:defRPr>
            </a:lvl2pPr>
            <a:lvl3pPr marL="838053" marR="0" indent="-211630" algn="l" defTabSz="1171998" rtl="0" eaLnBrk="1" fontAlgn="auto" latinLnBrk="0" hangingPunct="1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tx1"/>
              </a:buClr>
              <a:buSzPct val="60000"/>
              <a:buFont typeface="Wingdings 3" panose="05040102010807070707" pitchFamily="18" charset="2"/>
              <a:buChar char="u"/>
              <a:tabLst/>
              <a:defRPr sz="2100" b="0" i="0" kern="900" spc="0">
                <a:solidFill>
                  <a:schemeClr val="tx1"/>
                </a:solidFill>
                <a:latin typeface="+mn-lt"/>
                <a:ea typeface="+mn-ea"/>
                <a:cs typeface="3ds Light"/>
              </a:defRPr>
            </a:lvl3pPr>
            <a:lvl4pPr marL="1142800" indent="-239142" algn="l" defTabSz="1171998" rtl="0" eaLnBrk="1" latinLnBrk="0" hangingPunct="1">
              <a:lnSpc>
                <a:spcPct val="100000"/>
              </a:lnSpc>
              <a:spcBef>
                <a:spcPts val="533"/>
              </a:spcBef>
              <a:buClr>
                <a:schemeClr val="tx1"/>
              </a:buClr>
              <a:buSzPct val="60000"/>
              <a:buFont typeface="Wingdings 3" panose="05040102010807070707" pitchFamily="18" charset="2"/>
              <a:buChar char="w"/>
              <a:defRPr sz="1900" b="0" i="0" kern="900" spc="-93">
                <a:solidFill>
                  <a:schemeClr val="tx1"/>
                </a:solidFill>
                <a:latin typeface="+mn-lt"/>
                <a:ea typeface="+mn-ea"/>
                <a:cs typeface="3ds Light"/>
              </a:defRPr>
            </a:lvl4pPr>
            <a:lvl5pPr marL="1218987" indent="0" algn="l" defTabSz="1371360" rtl="0" eaLnBrk="1" latinLnBrk="0" hangingPunct="1">
              <a:lnSpc>
                <a:spcPct val="100000"/>
              </a:lnSpc>
              <a:spcBef>
                <a:spcPts val="400"/>
              </a:spcBef>
              <a:buFont typeface="Arial"/>
              <a:buNone/>
              <a:defRPr sz="1600" b="0" i="0" kern="1200" baseline="0">
                <a:solidFill>
                  <a:schemeClr val="tx1"/>
                </a:solidFill>
                <a:latin typeface="+mn-lt"/>
                <a:ea typeface="+mn-ea"/>
                <a:cs typeface="3ds Light"/>
              </a:defRPr>
            </a:lvl5pPr>
            <a:lvl6pPr marL="3222993" indent="-292999" algn="l" defTabSz="11719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08991" indent="-292999" algn="l" defTabSz="11719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94989" indent="-292999" algn="l" defTabSz="11719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980988" indent="-292999" algn="l" defTabSz="11719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2133"/>
              <a:t>0,7% Reparaturen </a:t>
            </a:r>
          </a:p>
        </p:txBody>
      </p:sp>
      <p:sp>
        <p:nvSpPr>
          <p:cNvPr id="39" name="Textplatzhalter 3"/>
          <p:cNvSpPr txBox="1">
            <a:spLocks/>
          </p:cNvSpPr>
          <p:nvPr userDrawn="1"/>
        </p:nvSpPr>
        <p:spPr>
          <a:xfrm>
            <a:off x="2517557" y="3111013"/>
            <a:ext cx="2519691" cy="400935"/>
          </a:xfrm>
          <a:prstGeom prst="rect">
            <a:avLst/>
          </a:prstGeom>
        </p:spPr>
        <p:txBody>
          <a:bodyPr vert="horz" wrap="square" lIns="0" tIns="0" rIns="0" bIns="72000" anchor="t" anchorCtr="0">
            <a:spAutoFit/>
          </a:bodyPr>
          <a:lstStyle>
            <a:lvl1pPr marL="0" indent="0" algn="l" defTabSz="117199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"/>
              </a:spcAft>
              <a:buClr>
                <a:schemeClr val="accent5"/>
              </a:buClr>
              <a:buSzPct val="100000"/>
              <a:buFont typeface="+mj-lt"/>
              <a:buNone/>
              <a:tabLst>
                <a:tab pos="715963" algn="l"/>
              </a:tabLst>
              <a:defRPr lang="de-DE" sz="1600" b="0" i="0" u="none" strike="noStrike" kern="900" spc="0" smtClean="0">
                <a:solidFill>
                  <a:schemeClr val="tx1"/>
                </a:solidFill>
                <a:effectLst/>
                <a:latin typeface="+mn-lt"/>
                <a:ea typeface="+mn-ea"/>
                <a:cs typeface="3ds Light"/>
              </a:defRPr>
            </a:lvl1pPr>
            <a:lvl2pPr marL="533307" marR="0" indent="-234910" algn="l" defTabSz="1171998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 3" panose="05040102010807070707" pitchFamily="18" charset="2"/>
              <a:buChar char="w"/>
              <a:tabLst/>
              <a:defRPr sz="2400" b="0" i="0" kern="900" spc="0" baseline="0">
                <a:solidFill>
                  <a:schemeClr val="tx1"/>
                </a:solidFill>
                <a:latin typeface="+mn-lt"/>
                <a:ea typeface="+mn-ea"/>
                <a:cs typeface="3ds Light"/>
              </a:defRPr>
            </a:lvl2pPr>
            <a:lvl3pPr marL="838053" marR="0" indent="-211630" algn="l" defTabSz="1171998" rtl="0" eaLnBrk="1" fontAlgn="auto" latinLnBrk="0" hangingPunct="1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tx1"/>
              </a:buClr>
              <a:buSzPct val="60000"/>
              <a:buFont typeface="Wingdings 3" panose="05040102010807070707" pitchFamily="18" charset="2"/>
              <a:buChar char="u"/>
              <a:tabLst/>
              <a:defRPr sz="2100" b="0" i="0" kern="900" spc="0">
                <a:solidFill>
                  <a:schemeClr val="tx1"/>
                </a:solidFill>
                <a:latin typeface="+mn-lt"/>
                <a:ea typeface="+mn-ea"/>
                <a:cs typeface="3ds Light"/>
              </a:defRPr>
            </a:lvl3pPr>
            <a:lvl4pPr marL="1142800" indent="-239142" algn="l" defTabSz="1171998" rtl="0" eaLnBrk="1" latinLnBrk="0" hangingPunct="1">
              <a:lnSpc>
                <a:spcPct val="100000"/>
              </a:lnSpc>
              <a:spcBef>
                <a:spcPts val="533"/>
              </a:spcBef>
              <a:buClr>
                <a:schemeClr val="tx1"/>
              </a:buClr>
              <a:buSzPct val="60000"/>
              <a:buFont typeface="Wingdings 3" panose="05040102010807070707" pitchFamily="18" charset="2"/>
              <a:buChar char="w"/>
              <a:defRPr sz="1900" b="0" i="0" kern="900" spc="-93">
                <a:solidFill>
                  <a:schemeClr val="tx1"/>
                </a:solidFill>
                <a:latin typeface="+mn-lt"/>
                <a:ea typeface="+mn-ea"/>
                <a:cs typeface="3ds Light"/>
              </a:defRPr>
            </a:lvl4pPr>
            <a:lvl5pPr marL="1218987" indent="0" algn="l" defTabSz="1371360" rtl="0" eaLnBrk="1" latinLnBrk="0" hangingPunct="1">
              <a:lnSpc>
                <a:spcPct val="100000"/>
              </a:lnSpc>
              <a:spcBef>
                <a:spcPts val="400"/>
              </a:spcBef>
              <a:buFont typeface="Arial"/>
              <a:buNone/>
              <a:defRPr sz="1600" b="0" i="0" kern="1200" baseline="0">
                <a:solidFill>
                  <a:schemeClr val="tx1"/>
                </a:solidFill>
                <a:latin typeface="+mn-lt"/>
                <a:ea typeface="+mn-ea"/>
                <a:cs typeface="3ds Light"/>
              </a:defRPr>
            </a:lvl5pPr>
            <a:lvl6pPr marL="3222993" indent="-292999" algn="l" defTabSz="11719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08991" indent="-292999" algn="l" defTabSz="11719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94989" indent="-292999" algn="l" defTabSz="11719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980988" indent="-292999" algn="l" defTabSz="11719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2133"/>
              <a:t>42,9% Sattelkoffer </a:t>
            </a:r>
          </a:p>
        </p:txBody>
      </p:sp>
      <p:cxnSp>
        <p:nvCxnSpPr>
          <p:cNvPr id="40" name="Gewinkelte Verbindung 39"/>
          <p:cNvCxnSpPr/>
          <p:nvPr userDrawn="1"/>
        </p:nvCxnSpPr>
        <p:spPr>
          <a:xfrm rot="10800000" flipV="1">
            <a:off x="4082999" y="2403152"/>
            <a:ext cx="2203169" cy="1"/>
          </a:xfrm>
          <a:prstGeom prst="bentConnector3">
            <a:avLst>
              <a:gd name="adj1" fmla="val 50000"/>
            </a:avLst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1" name="Gewinkelte Verbindung 40"/>
          <p:cNvCxnSpPr/>
          <p:nvPr userDrawn="1"/>
        </p:nvCxnSpPr>
        <p:spPr>
          <a:xfrm rot="10800000" flipV="1">
            <a:off x="4338073" y="2676474"/>
            <a:ext cx="1990437" cy="158285"/>
          </a:xfrm>
          <a:prstGeom prst="bentConnector3">
            <a:avLst>
              <a:gd name="adj1" fmla="val -200"/>
            </a:avLst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" name="Gewinkelte Verbindung 41"/>
          <p:cNvCxnSpPr/>
          <p:nvPr userDrawn="1"/>
        </p:nvCxnSpPr>
        <p:spPr>
          <a:xfrm rot="10800000" flipV="1">
            <a:off x="4355010" y="3266365"/>
            <a:ext cx="598582" cy="1"/>
          </a:xfrm>
          <a:prstGeom prst="bentConnector3">
            <a:avLst>
              <a:gd name="adj1" fmla="val 50000"/>
            </a:avLst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Fußzeilenplatzhalter 2"/>
          <p:cNvSpPr>
            <a:spLocks noGrp="1"/>
          </p:cNvSpPr>
          <p:nvPr>
            <p:ph type="ftr" sz="quarter" idx="3"/>
          </p:nvPr>
        </p:nvSpPr>
        <p:spPr>
          <a:xfrm>
            <a:off x="4122537" y="6192000"/>
            <a:ext cx="7380962" cy="66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6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Ringvorlesung – Digitale Transformation bei Schmitz Cargobull</a:t>
            </a:r>
          </a:p>
        </p:txBody>
      </p:sp>
      <p:sp>
        <p:nvSpPr>
          <p:cNvPr id="25" name="Datumsplatzhalter 4"/>
          <p:cNvSpPr>
            <a:spLocks noGrp="1"/>
          </p:cNvSpPr>
          <p:nvPr>
            <p:ph type="dt" sz="half" idx="2"/>
          </p:nvPr>
        </p:nvSpPr>
        <p:spPr>
          <a:xfrm>
            <a:off x="2520328" y="6191559"/>
            <a:ext cx="1602209" cy="66644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6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17.01.2019</a:t>
            </a:r>
          </a:p>
        </p:txBody>
      </p:sp>
    </p:spTree>
    <p:extLst>
      <p:ext uri="{BB962C8B-B14F-4D97-AF65-F5344CB8AC3E}">
        <p14:creationId xmlns:p14="http://schemas.microsoft.com/office/powerpoint/2010/main" val="346702648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hteck 30"/>
          <p:cNvSpPr/>
          <p:nvPr userDrawn="1"/>
        </p:nvSpPr>
        <p:spPr>
          <a:xfrm>
            <a:off x="0" y="5583452"/>
            <a:ext cx="12190413" cy="754845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1" rIns="91440" bIns="45721" rtlCol="0" anchor="ctr"/>
          <a:lstStyle/>
          <a:p>
            <a:pPr algn="ctr"/>
            <a:endParaRPr lang="de-DE" sz="2400"/>
          </a:p>
        </p:txBody>
      </p:sp>
      <p:cxnSp>
        <p:nvCxnSpPr>
          <p:cNvPr id="3" name="Gerader Verbinder 48"/>
          <p:cNvCxnSpPr/>
          <p:nvPr userDrawn="1"/>
        </p:nvCxnSpPr>
        <p:spPr>
          <a:xfrm>
            <a:off x="8827935" y="3797037"/>
            <a:ext cx="715456" cy="0"/>
          </a:xfrm>
          <a:prstGeom prst="line">
            <a:avLst/>
          </a:prstGeom>
          <a:ln w="6350" cmpd="sng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4" name="Gruppieren 17"/>
          <p:cNvGrpSpPr>
            <a:grpSpLocks/>
          </p:cNvGrpSpPr>
          <p:nvPr userDrawn="1"/>
        </p:nvGrpSpPr>
        <p:grpSpPr bwMode="auto">
          <a:xfrm>
            <a:off x="2514903" y="3401540"/>
            <a:ext cx="7200261" cy="2295779"/>
            <a:chOff x="1220935" y="1659349"/>
            <a:chExt cx="7252796" cy="2312988"/>
          </a:xfrm>
        </p:grpSpPr>
        <p:pic>
          <p:nvPicPr>
            <p:cNvPr id="5" name="Grafik 7"/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EFF1F9"/>
                </a:clrFrom>
                <a:clrTo>
                  <a:srgbClr val="EFF1F9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ackgroundRemoval t="2372" b="98814" l="1515" r="95455">
                          <a14:foregroundMark x1="13636" y1="46640" x2="13636" y2="46640"/>
                          <a14:foregroundMark x1="13636" y1="46640" x2="32867" y2="16996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406" t="3992" r="5896"/>
            <a:stretch>
              <a:fillRect/>
            </a:stretch>
          </p:blipFill>
          <p:spPr bwMode="auto">
            <a:xfrm>
              <a:off x="1223617" y="1659349"/>
              <a:ext cx="7250114" cy="23129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" name="Rechteck 5"/>
            <p:cNvSpPr/>
            <p:nvPr/>
          </p:nvSpPr>
          <p:spPr>
            <a:xfrm>
              <a:off x="1220935" y="1708562"/>
              <a:ext cx="7233746" cy="1503362"/>
            </a:xfrm>
            <a:prstGeom prst="rect">
              <a:avLst/>
            </a:prstGeom>
            <a:solidFill>
              <a:schemeClr val="bg1"/>
            </a:solidFill>
            <a:ln w="25400">
              <a:solidFill>
                <a:srgbClr val="134094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 sz="2400"/>
            </a:p>
          </p:txBody>
        </p:sp>
      </p:grpSp>
      <p:sp>
        <p:nvSpPr>
          <p:cNvPr id="7" name="Rechteck 6"/>
          <p:cNvSpPr/>
          <p:nvPr userDrawn="1"/>
        </p:nvSpPr>
        <p:spPr>
          <a:xfrm>
            <a:off x="2518055" y="3444085"/>
            <a:ext cx="715456" cy="1492177"/>
          </a:xfrm>
          <a:prstGeom prst="rect">
            <a:avLst/>
          </a:prstGeom>
          <a:solidFill>
            <a:srgbClr val="648BC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1" rIns="91440" bIns="45721" anchor="ctr"/>
          <a:lstStyle/>
          <a:p>
            <a:pPr algn="ctr">
              <a:defRPr/>
            </a:pPr>
            <a:endParaRPr lang="de-DE" sz="2400"/>
          </a:p>
        </p:txBody>
      </p:sp>
      <p:sp>
        <p:nvSpPr>
          <p:cNvPr id="9" name="Rechteck 8"/>
          <p:cNvSpPr/>
          <p:nvPr/>
        </p:nvSpPr>
        <p:spPr bwMode="auto">
          <a:xfrm>
            <a:off x="3239814" y="3453540"/>
            <a:ext cx="5767772" cy="1492177"/>
          </a:xfrm>
          <a:prstGeom prst="rect">
            <a:avLst/>
          </a:prstGeom>
          <a:solidFill>
            <a:srgbClr val="134094"/>
          </a:solidFill>
          <a:ln>
            <a:solidFill>
              <a:srgbClr val="13409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1" rIns="91440" bIns="45721" anchor="ctr"/>
          <a:lstStyle/>
          <a:p>
            <a:pPr algn="ctr">
              <a:defRPr/>
            </a:pPr>
            <a:endParaRPr lang="de-DE" sz="2400"/>
          </a:p>
        </p:txBody>
      </p:sp>
      <p:sp>
        <p:nvSpPr>
          <p:cNvPr id="18" name="Rechteck 17"/>
          <p:cNvSpPr/>
          <p:nvPr userDrawn="1"/>
        </p:nvSpPr>
        <p:spPr bwMode="auto">
          <a:xfrm>
            <a:off x="8976068" y="3455113"/>
            <a:ext cx="715456" cy="1492179"/>
          </a:xfrm>
          <a:prstGeom prst="rect">
            <a:avLst/>
          </a:prstGeom>
          <a:solidFill>
            <a:srgbClr val="648BC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1" rIns="91440" bIns="45721" anchor="ctr"/>
          <a:lstStyle/>
          <a:p>
            <a:pPr algn="ctr">
              <a:defRPr/>
            </a:pPr>
            <a:endParaRPr lang="de-DE" sz="2400"/>
          </a:p>
        </p:txBody>
      </p:sp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2517558" y="651516"/>
            <a:ext cx="9002844" cy="661987"/>
          </a:xfrm>
        </p:spPr>
        <p:txBody>
          <a:bodyPr/>
          <a:lstStyle>
            <a:lvl1pPr>
              <a:defRPr baseline="0">
                <a:solidFill>
                  <a:srgbClr val="6F6F6F"/>
                </a:solidFill>
              </a:defRPr>
            </a:lvl1pPr>
          </a:lstStyle>
          <a:p>
            <a:r>
              <a:rPr lang="de-DE"/>
              <a:t>Kopiervorlage Trailer / </a:t>
            </a:r>
            <a:r>
              <a:rPr lang="de-DE" err="1"/>
              <a:t>copy</a:t>
            </a:r>
            <a:r>
              <a:rPr lang="de-DE"/>
              <a:t> </a:t>
            </a:r>
            <a:r>
              <a:rPr lang="de-DE" err="1"/>
              <a:t>sheet</a:t>
            </a:r>
            <a:r>
              <a:rPr lang="de-DE"/>
              <a:t> </a:t>
            </a:r>
            <a:r>
              <a:rPr lang="de-DE" err="1"/>
              <a:t>trailer</a:t>
            </a:r>
            <a:endParaRPr lang="de-DE"/>
          </a:p>
        </p:txBody>
      </p:sp>
      <p:sp>
        <p:nvSpPr>
          <p:cNvPr id="13" name="Textplatzhalter 3"/>
          <p:cNvSpPr>
            <a:spLocks noGrp="1"/>
          </p:cNvSpPr>
          <p:nvPr>
            <p:ph type="body" idx="10" hasCustomPrompt="1"/>
          </p:nvPr>
        </p:nvSpPr>
        <p:spPr>
          <a:xfrm>
            <a:off x="649708" y="1624438"/>
            <a:ext cx="1842781" cy="344487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2266">
                <a:solidFill>
                  <a:schemeClr val="tx1"/>
                </a:solidFill>
              </a:defRPr>
            </a:lvl1pPr>
          </a:lstStyle>
          <a:p>
            <a:pPr lvl="0"/>
            <a:r>
              <a:rPr lang="de-DE" err="1"/>
              <a:t>Tutorial</a:t>
            </a:r>
            <a:endParaRPr lang="de-DE"/>
          </a:p>
        </p:txBody>
      </p:sp>
      <p:sp>
        <p:nvSpPr>
          <p:cNvPr id="14" name="Textfeld 13"/>
          <p:cNvSpPr txBox="1"/>
          <p:nvPr userDrawn="1"/>
        </p:nvSpPr>
        <p:spPr>
          <a:xfrm>
            <a:off x="502528" y="2274487"/>
            <a:ext cx="1759955" cy="3915619"/>
          </a:xfrm>
          <a:prstGeom prst="rect">
            <a:avLst/>
          </a:prstGeom>
          <a:noFill/>
        </p:spPr>
        <p:txBody>
          <a:bodyPr wrap="square" lIns="0" tIns="0" rIns="0" bIns="0" numCol="1" spcCol="191726" rtlCol="0">
            <a:noAutofit/>
          </a:bodyPr>
          <a:lstStyle/>
          <a:p>
            <a:pPr marL="171456" marR="0" lvl="0" indent="-171456" algn="l" defTabSz="1172037" rtl="0" eaLnBrk="1" fontAlgn="auto" latinLnBrk="0" hangingPunct="1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accent5"/>
              </a:buClr>
              <a:buSzPct val="100000"/>
              <a:buFont typeface="Arial"/>
              <a:buChar char="•"/>
              <a:tabLst/>
              <a:defRPr/>
            </a:pPr>
            <a:r>
              <a:rPr lang="de-DE" sz="1067">
                <a:solidFill>
                  <a:srgbClr val="6F6F6F"/>
                </a:solidFill>
              </a:rPr>
              <a:t>Alles markieren und in eine leere</a:t>
            </a:r>
            <a:r>
              <a:rPr lang="de-DE" sz="1067" baseline="0">
                <a:solidFill>
                  <a:srgbClr val="6F6F6F"/>
                </a:solidFill>
              </a:rPr>
              <a:t> </a:t>
            </a:r>
            <a:r>
              <a:rPr lang="de-DE" sz="1067">
                <a:solidFill>
                  <a:srgbClr val="6F6F6F"/>
                </a:solidFill>
              </a:rPr>
              <a:t>Präsentations-Seite kopieren. </a:t>
            </a:r>
            <a:r>
              <a:rPr lang="de-DE" sz="1067" i="1">
                <a:solidFill>
                  <a:srgbClr val="6F6F6F"/>
                </a:solidFill>
              </a:rPr>
              <a:t>Mark </a:t>
            </a:r>
            <a:r>
              <a:rPr lang="de-DE" sz="1067" i="1" err="1">
                <a:solidFill>
                  <a:srgbClr val="6F6F6F"/>
                </a:solidFill>
              </a:rPr>
              <a:t>everything</a:t>
            </a:r>
            <a:r>
              <a:rPr lang="de-DE" sz="1067" i="1">
                <a:solidFill>
                  <a:srgbClr val="6F6F6F"/>
                </a:solidFill>
              </a:rPr>
              <a:t> </a:t>
            </a:r>
            <a:r>
              <a:rPr lang="de-DE" sz="1067" i="1" err="1">
                <a:solidFill>
                  <a:srgbClr val="6F6F6F"/>
                </a:solidFill>
              </a:rPr>
              <a:t>and</a:t>
            </a:r>
            <a:r>
              <a:rPr lang="de-DE" sz="1067" i="1">
                <a:solidFill>
                  <a:srgbClr val="6F6F6F"/>
                </a:solidFill>
              </a:rPr>
              <a:t> </a:t>
            </a:r>
            <a:r>
              <a:rPr lang="de-DE" sz="1067" i="1" err="1">
                <a:solidFill>
                  <a:srgbClr val="6F6F6F"/>
                </a:solidFill>
              </a:rPr>
              <a:t>copy</a:t>
            </a:r>
            <a:r>
              <a:rPr lang="de-DE" sz="1067" i="1">
                <a:solidFill>
                  <a:srgbClr val="6F6F6F"/>
                </a:solidFill>
              </a:rPr>
              <a:t> </a:t>
            </a:r>
            <a:r>
              <a:rPr lang="de-DE" sz="1067" i="1" err="1">
                <a:solidFill>
                  <a:srgbClr val="6F6F6F"/>
                </a:solidFill>
              </a:rPr>
              <a:t>into</a:t>
            </a:r>
            <a:r>
              <a:rPr lang="de-DE" sz="1067" i="1">
                <a:solidFill>
                  <a:srgbClr val="6F6F6F"/>
                </a:solidFill>
              </a:rPr>
              <a:t> a </a:t>
            </a:r>
            <a:r>
              <a:rPr lang="de-DE" sz="1067" i="1" err="1">
                <a:solidFill>
                  <a:srgbClr val="6F6F6F"/>
                </a:solidFill>
              </a:rPr>
              <a:t>blanc</a:t>
            </a:r>
            <a:r>
              <a:rPr lang="de-DE" sz="1067" i="1">
                <a:solidFill>
                  <a:srgbClr val="6F6F6F"/>
                </a:solidFill>
              </a:rPr>
              <a:t> </a:t>
            </a:r>
            <a:r>
              <a:rPr lang="de-DE" sz="1067" i="1" err="1">
                <a:solidFill>
                  <a:srgbClr val="6F6F6F"/>
                </a:solidFill>
              </a:rPr>
              <a:t>presentation</a:t>
            </a:r>
            <a:r>
              <a:rPr lang="de-DE" sz="1067" i="1">
                <a:solidFill>
                  <a:srgbClr val="6F6F6F"/>
                </a:solidFill>
              </a:rPr>
              <a:t>-site</a:t>
            </a:r>
          </a:p>
          <a:p>
            <a:pPr marL="0" lvl="0" indent="0">
              <a:buClr>
                <a:schemeClr val="accent5"/>
              </a:buClr>
              <a:buFont typeface="Arial"/>
              <a:buNone/>
            </a:pPr>
            <a:endParaRPr lang="de-DE" sz="1067">
              <a:solidFill>
                <a:srgbClr val="6F6F6F"/>
              </a:solidFill>
            </a:endParaRPr>
          </a:p>
          <a:p>
            <a:pPr marL="171456" marR="0" lvl="0" indent="-171456" algn="l" defTabSz="11720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Tx/>
              <a:buFont typeface="Arial"/>
              <a:buChar char="•"/>
              <a:tabLst/>
              <a:defRPr/>
            </a:pPr>
            <a:r>
              <a:rPr lang="de-DE" sz="1067">
                <a:solidFill>
                  <a:srgbClr val="6F6F6F"/>
                </a:solidFill>
              </a:rPr>
              <a:t>Daten und Texte eintragen. </a:t>
            </a:r>
            <a:r>
              <a:rPr lang="de-DE" sz="1067" i="1" err="1">
                <a:solidFill>
                  <a:srgbClr val="6F6F6F"/>
                </a:solidFill>
              </a:rPr>
              <a:t>Sign</a:t>
            </a:r>
            <a:r>
              <a:rPr lang="de-DE" sz="1067" i="1">
                <a:solidFill>
                  <a:srgbClr val="6F6F6F"/>
                </a:solidFill>
              </a:rPr>
              <a:t> in </a:t>
            </a:r>
            <a:r>
              <a:rPr lang="de-DE" sz="1067" i="1" err="1">
                <a:solidFill>
                  <a:srgbClr val="6F6F6F"/>
                </a:solidFill>
              </a:rPr>
              <a:t>data</a:t>
            </a:r>
            <a:r>
              <a:rPr lang="de-DE" sz="1067" i="1">
                <a:solidFill>
                  <a:srgbClr val="6F6F6F"/>
                </a:solidFill>
              </a:rPr>
              <a:t> </a:t>
            </a:r>
            <a:r>
              <a:rPr lang="de-DE" sz="1067" i="1" err="1">
                <a:solidFill>
                  <a:srgbClr val="6F6F6F"/>
                </a:solidFill>
              </a:rPr>
              <a:t>and</a:t>
            </a:r>
            <a:r>
              <a:rPr lang="de-DE" sz="1067" i="1">
                <a:solidFill>
                  <a:srgbClr val="6F6F6F"/>
                </a:solidFill>
              </a:rPr>
              <a:t> </a:t>
            </a:r>
            <a:r>
              <a:rPr lang="de-DE" sz="1067" i="1" err="1">
                <a:solidFill>
                  <a:srgbClr val="6F6F6F"/>
                </a:solidFill>
              </a:rPr>
              <a:t>text</a:t>
            </a:r>
            <a:endParaRPr lang="de-DE" sz="1067" i="1">
              <a:solidFill>
                <a:srgbClr val="6F6F6F"/>
              </a:solidFill>
            </a:endParaRPr>
          </a:p>
        </p:txBody>
      </p:sp>
      <p:cxnSp>
        <p:nvCxnSpPr>
          <p:cNvPr id="15" name="Gewinkelte Verbindung 14"/>
          <p:cNvCxnSpPr/>
          <p:nvPr userDrawn="1"/>
        </p:nvCxnSpPr>
        <p:spPr>
          <a:xfrm rot="5400000">
            <a:off x="4876882" y="2878257"/>
            <a:ext cx="991395" cy="108017"/>
          </a:xfrm>
          <a:prstGeom prst="bentConnector3">
            <a:avLst>
              <a:gd name="adj1" fmla="val -233"/>
            </a:avLst>
          </a:prstGeom>
          <a:ln w="12700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Textfeld 57"/>
          <p:cNvSpPr txBox="1">
            <a:spLocks noChangeArrowheads="1"/>
          </p:cNvSpPr>
          <p:nvPr userDrawn="1"/>
        </p:nvSpPr>
        <p:spPr bwMode="auto">
          <a:xfrm>
            <a:off x="6410489" y="3559110"/>
            <a:ext cx="2553001" cy="13234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lvl1pPr marL="2419350" indent="-180975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marL="0" indent="1588" eaLnBrk="1" hangingPunct="1">
              <a:buFontTx/>
              <a:buChar char="•"/>
            </a:pPr>
            <a:r>
              <a:rPr lang="de-DE" altLang="de-DE" sz="1600">
                <a:solidFill>
                  <a:schemeClr val="bg1"/>
                </a:solidFill>
              </a:rPr>
              <a:t>Handling</a:t>
            </a:r>
          </a:p>
          <a:p>
            <a:pPr marL="0" indent="1588" eaLnBrk="1" hangingPunct="1">
              <a:buFontTx/>
              <a:buChar char="•"/>
            </a:pPr>
            <a:r>
              <a:rPr lang="en-US" altLang="de-DE" sz="1600" err="1">
                <a:solidFill>
                  <a:schemeClr val="bg1"/>
                </a:solidFill>
              </a:rPr>
              <a:t>Laderaumauslastung</a:t>
            </a:r>
            <a:endParaRPr lang="en-US" altLang="de-DE" sz="1600">
              <a:solidFill>
                <a:schemeClr val="bg1"/>
              </a:solidFill>
            </a:endParaRPr>
          </a:p>
          <a:p>
            <a:pPr marL="0" indent="1588" eaLnBrk="1" hangingPunct="1">
              <a:buFontTx/>
              <a:buChar char="•"/>
            </a:pPr>
            <a:r>
              <a:rPr lang="de-DE" altLang="de-DE" sz="1600">
                <a:solidFill>
                  <a:schemeClr val="bg1"/>
                </a:solidFill>
              </a:rPr>
              <a:t>Reparaturen</a:t>
            </a:r>
          </a:p>
          <a:p>
            <a:pPr marL="0" indent="1588" eaLnBrk="1" hangingPunct="1">
              <a:buFontTx/>
              <a:buChar char="•"/>
            </a:pPr>
            <a:r>
              <a:rPr lang="de-DE" altLang="de-DE" sz="1600">
                <a:solidFill>
                  <a:schemeClr val="bg1"/>
                </a:solidFill>
              </a:rPr>
              <a:t>Datenmanagement</a:t>
            </a:r>
          </a:p>
          <a:p>
            <a:pPr marL="0" indent="1588" eaLnBrk="1" hangingPunct="1">
              <a:buFontTx/>
              <a:buChar char="•"/>
            </a:pPr>
            <a:r>
              <a:rPr lang="de-DE" altLang="de-DE" sz="1600">
                <a:solidFill>
                  <a:schemeClr val="bg1"/>
                </a:solidFill>
              </a:rPr>
              <a:t>Finanzierung</a:t>
            </a:r>
          </a:p>
        </p:txBody>
      </p:sp>
      <p:sp>
        <p:nvSpPr>
          <p:cNvPr id="17" name="Textfeld 14"/>
          <p:cNvSpPr txBox="1">
            <a:spLocks noChangeArrowheads="1"/>
          </p:cNvSpPr>
          <p:nvPr userDrawn="1"/>
        </p:nvSpPr>
        <p:spPr bwMode="auto">
          <a:xfrm>
            <a:off x="4440312" y="4024890"/>
            <a:ext cx="1403739" cy="3385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40" tIns="45721" rIns="91440" bIns="45721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/>
            <a:r>
              <a:rPr lang="de-DE" altLang="de-DE" sz="1600" b="1">
                <a:solidFill>
                  <a:schemeClr val="bg1"/>
                </a:solidFill>
                <a:cs typeface="Arial" panose="020B0604020202020204" pitchFamily="34" charset="0"/>
              </a:rPr>
              <a:t>&gt; 80%</a:t>
            </a:r>
          </a:p>
        </p:txBody>
      </p:sp>
      <p:sp>
        <p:nvSpPr>
          <p:cNvPr id="19" name="Textfeld 15"/>
          <p:cNvSpPr txBox="1">
            <a:spLocks noChangeArrowheads="1"/>
          </p:cNvSpPr>
          <p:nvPr userDrawn="1"/>
        </p:nvSpPr>
        <p:spPr bwMode="auto">
          <a:xfrm>
            <a:off x="8963489" y="4024890"/>
            <a:ext cx="1021179" cy="3385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40" tIns="45721" rIns="91440" bIns="45721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r>
              <a:rPr lang="de-DE" altLang="de-DE" sz="1600" b="1">
                <a:solidFill>
                  <a:schemeClr val="bg1"/>
                </a:solidFill>
                <a:cs typeface="Arial" panose="020B0604020202020204" pitchFamily="34" charset="0"/>
              </a:rPr>
              <a:t>&lt; 10%</a:t>
            </a:r>
          </a:p>
        </p:txBody>
      </p:sp>
      <p:sp>
        <p:nvSpPr>
          <p:cNvPr id="20" name="Textfeld 15"/>
          <p:cNvSpPr txBox="1">
            <a:spLocks noChangeArrowheads="1"/>
          </p:cNvSpPr>
          <p:nvPr userDrawn="1"/>
        </p:nvSpPr>
        <p:spPr bwMode="auto">
          <a:xfrm>
            <a:off x="2467626" y="4024890"/>
            <a:ext cx="1019603" cy="3385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40" tIns="45721" rIns="91440" bIns="45721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r>
              <a:rPr lang="de-DE" altLang="de-DE" sz="1600" b="1">
                <a:solidFill>
                  <a:schemeClr val="bg1"/>
                </a:solidFill>
                <a:cs typeface="Arial" panose="020B0604020202020204" pitchFamily="34" charset="0"/>
              </a:rPr>
              <a:t>&lt; 10%</a:t>
            </a:r>
          </a:p>
        </p:txBody>
      </p:sp>
      <p:sp>
        <p:nvSpPr>
          <p:cNvPr id="21" name="Textplatzhalter 13"/>
          <p:cNvSpPr txBox="1">
            <a:spLocks/>
          </p:cNvSpPr>
          <p:nvPr userDrawn="1"/>
        </p:nvSpPr>
        <p:spPr>
          <a:xfrm>
            <a:off x="2517558" y="2284631"/>
            <a:ext cx="1597233" cy="360975"/>
          </a:xfrm>
          <a:prstGeom prst="rect">
            <a:avLst/>
          </a:prstGeom>
        </p:spPr>
        <p:txBody>
          <a:bodyPr lIns="180001" tIns="0" rIns="0" bIns="0"/>
          <a:lstStyle>
            <a:lvl1pPr marL="304747" indent="-304747" algn="l" defTabSz="1171998" rtl="0" eaLnBrk="1" latinLnBrk="0" hangingPunct="1">
              <a:lnSpc>
                <a:spcPct val="100000"/>
              </a:lnSpc>
              <a:spcBef>
                <a:spcPts val="1066"/>
              </a:spcBef>
              <a:buClr>
                <a:schemeClr val="tx1"/>
              </a:buClr>
              <a:buSzPct val="80000"/>
              <a:buFont typeface="Wingdings 3" panose="05040102010807070707" pitchFamily="18" charset="2"/>
              <a:buChar char="u"/>
              <a:defRPr sz="2700" b="0" i="0" kern="900" spc="0">
                <a:solidFill>
                  <a:schemeClr val="tx1"/>
                </a:solidFill>
                <a:latin typeface="+mn-lt"/>
                <a:ea typeface="+mn-ea"/>
                <a:cs typeface="3ds Light"/>
              </a:defRPr>
            </a:lvl1pPr>
            <a:lvl2pPr marL="533307" marR="0" indent="-234910" algn="l" defTabSz="1171998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 3" panose="05040102010807070707" pitchFamily="18" charset="2"/>
              <a:buChar char="w"/>
              <a:tabLst/>
              <a:defRPr sz="2400" b="0" i="0" kern="900" spc="0" baseline="0">
                <a:solidFill>
                  <a:schemeClr val="tx1"/>
                </a:solidFill>
                <a:latin typeface="+mn-lt"/>
                <a:ea typeface="+mn-ea"/>
                <a:cs typeface="3ds Light"/>
              </a:defRPr>
            </a:lvl2pPr>
            <a:lvl3pPr marL="838053" marR="0" indent="-211630" algn="l" defTabSz="1171998" rtl="0" eaLnBrk="1" fontAlgn="auto" latinLnBrk="0" hangingPunct="1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tx1"/>
              </a:buClr>
              <a:buSzPct val="60000"/>
              <a:buFont typeface="Wingdings 3" panose="05040102010807070707" pitchFamily="18" charset="2"/>
              <a:buChar char="u"/>
              <a:tabLst/>
              <a:defRPr sz="2100" b="0" i="0" kern="900" spc="0">
                <a:solidFill>
                  <a:schemeClr val="tx1"/>
                </a:solidFill>
                <a:latin typeface="+mn-lt"/>
                <a:ea typeface="+mn-ea"/>
                <a:cs typeface="3ds Light"/>
              </a:defRPr>
            </a:lvl3pPr>
            <a:lvl4pPr marL="1142800" indent="-239142" algn="l" defTabSz="1171998" rtl="0" eaLnBrk="1" latinLnBrk="0" hangingPunct="1">
              <a:lnSpc>
                <a:spcPct val="100000"/>
              </a:lnSpc>
              <a:spcBef>
                <a:spcPts val="533"/>
              </a:spcBef>
              <a:buClr>
                <a:schemeClr val="tx1"/>
              </a:buClr>
              <a:buSzPct val="60000"/>
              <a:buFont typeface="Wingdings 3" panose="05040102010807070707" pitchFamily="18" charset="2"/>
              <a:buChar char="w"/>
              <a:defRPr sz="1900" b="0" i="0" kern="900" spc="-93">
                <a:solidFill>
                  <a:schemeClr val="tx1"/>
                </a:solidFill>
                <a:latin typeface="+mn-lt"/>
                <a:ea typeface="+mn-ea"/>
                <a:cs typeface="3ds Light"/>
              </a:defRPr>
            </a:lvl4pPr>
            <a:lvl5pPr marL="1218987" indent="0" algn="l" defTabSz="1371360" rtl="0" eaLnBrk="1" latinLnBrk="0" hangingPunct="1">
              <a:lnSpc>
                <a:spcPct val="100000"/>
              </a:lnSpc>
              <a:spcBef>
                <a:spcPts val="400"/>
              </a:spcBef>
              <a:buFont typeface="Arial"/>
              <a:buNone/>
              <a:defRPr sz="1600" b="0" i="0" kern="1200" baseline="0">
                <a:solidFill>
                  <a:schemeClr val="tx1"/>
                </a:solidFill>
                <a:latin typeface="+mn-lt"/>
                <a:ea typeface="+mn-ea"/>
                <a:cs typeface="3ds Light"/>
              </a:defRPr>
            </a:lvl5pPr>
            <a:lvl6pPr marL="3222993" indent="-292999" algn="l" defTabSz="11719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08991" indent="-292999" algn="l" defTabSz="11719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94989" indent="-292999" algn="l" defTabSz="11719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980988" indent="-292999" algn="l" defTabSz="11719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chemeClr val="accent5"/>
              </a:buClr>
              <a:buNone/>
            </a:pPr>
            <a:r>
              <a:rPr lang="de-DE" sz="1600">
                <a:solidFill>
                  <a:srgbClr val="6F6F6F"/>
                </a:solidFill>
              </a:rPr>
              <a:t>Beschaffung</a:t>
            </a:r>
          </a:p>
        </p:txBody>
      </p:sp>
      <p:sp>
        <p:nvSpPr>
          <p:cNvPr id="22" name="Textplatzhalter 13"/>
          <p:cNvSpPr txBox="1">
            <a:spLocks/>
          </p:cNvSpPr>
          <p:nvPr userDrawn="1"/>
        </p:nvSpPr>
        <p:spPr>
          <a:xfrm>
            <a:off x="5308747" y="2284631"/>
            <a:ext cx="2947570" cy="360975"/>
          </a:xfrm>
          <a:prstGeom prst="rect">
            <a:avLst/>
          </a:prstGeom>
        </p:spPr>
        <p:txBody>
          <a:bodyPr lIns="180001" tIns="0" rIns="0" bIns="0"/>
          <a:lstStyle>
            <a:lvl1pPr marL="304747" indent="-304747" algn="l" defTabSz="1171998" rtl="0" eaLnBrk="1" latinLnBrk="0" hangingPunct="1">
              <a:lnSpc>
                <a:spcPct val="100000"/>
              </a:lnSpc>
              <a:spcBef>
                <a:spcPts val="1066"/>
              </a:spcBef>
              <a:buClr>
                <a:schemeClr val="tx1"/>
              </a:buClr>
              <a:buSzPct val="80000"/>
              <a:buFont typeface="Wingdings 3" panose="05040102010807070707" pitchFamily="18" charset="2"/>
              <a:buChar char="u"/>
              <a:defRPr sz="2700" b="0" i="0" kern="900" spc="0">
                <a:solidFill>
                  <a:schemeClr val="tx1"/>
                </a:solidFill>
                <a:latin typeface="+mn-lt"/>
                <a:ea typeface="+mn-ea"/>
                <a:cs typeface="3ds Light"/>
              </a:defRPr>
            </a:lvl1pPr>
            <a:lvl2pPr marL="533307" marR="0" indent="-234910" algn="l" defTabSz="1171998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 3" panose="05040102010807070707" pitchFamily="18" charset="2"/>
              <a:buChar char="w"/>
              <a:tabLst/>
              <a:defRPr sz="2400" b="0" i="0" kern="900" spc="0" baseline="0">
                <a:solidFill>
                  <a:schemeClr val="tx1"/>
                </a:solidFill>
                <a:latin typeface="+mn-lt"/>
                <a:ea typeface="+mn-ea"/>
                <a:cs typeface="3ds Light"/>
              </a:defRPr>
            </a:lvl2pPr>
            <a:lvl3pPr marL="838053" marR="0" indent="-211630" algn="l" defTabSz="1171998" rtl="0" eaLnBrk="1" fontAlgn="auto" latinLnBrk="0" hangingPunct="1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tx1"/>
              </a:buClr>
              <a:buSzPct val="60000"/>
              <a:buFont typeface="Wingdings 3" panose="05040102010807070707" pitchFamily="18" charset="2"/>
              <a:buChar char="u"/>
              <a:tabLst/>
              <a:defRPr sz="2100" b="0" i="0" kern="900" spc="0">
                <a:solidFill>
                  <a:schemeClr val="tx1"/>
                </a:solidFill>
                <a:latin typeface="+mn-lt"/>
                <a:ea typeface="+mn-ea"/>
                <a:cs typeface="3ds Light"/>
              </a:defRPr>
            </a:lvl3pPr>
            <a:lvl4pPr marL="1142800" indent="-239142" algn="l" defTabSz="1171998" rtl="0" eaLnBrk="1" latinLnBrk="0" hangingPunct="1">
              <a:lnSpc>
                <a:spcPct val="100000"/>
              </a:lnSpc>
              <a:spcBef>
                <a:spcPts val="533"/>
              </a:spcBef>
              <a:buClr>
                <a:schemeClr val="tx1"/>
              </a:buClr>
              <a:buSzPct val="60000"/>
              <a:buFont typeface="Wingdings 3" panose="05040102010807070707" pitchFamily="18" charset="2"/>
              <a:buChar char="w"/>
              <a:defRPr sz="1900" b="0" i="0" kern="900" spc="-93">
                <a:solidFill>
                  <a:schemeClr val="tx1"/>
                </a:solidFill>
                <a:latin typeface="+mn-lt"/>
                <a:ea typeface="+mn-ea"/>
                <a:cs typeface="3ds Light"/>
              </a:defRPr>
            </a:lvl4pPr>
            <a:lvl5pPr marL="1218987" indent="0" algn="l" defTabSz="1371360" rtl="0" eaLnBrk="1" latinLnBrk="0" hangingPunct="1">
              <a:lnSpc>
                <a:spcPct val="100000"/>
              </a:lnSpc>
              <a:spcBef>
                <a:spcPts val="400"/>
              </a:spcBef>
              <a:buFont typeface="Arial"/>
              <a:buNone/>
              <a:defRPr sz="1600" b="0" i="0" kern="1200" baseline="0">
                <a:solidFill>
                  <a:schemeClr val="tx1"/>
                </a:solidFill>
                <a:latin typeface="+mn-lt"/>
                <a:ea typeface="+mn-ea"/>
                <a:cs typeface="3ds Light"/>
              </a:defRPr>
            </a:lvl5pPr>
            <a:lvl6pPr marL="3222993" indent="-292999" algn="l" defTabSz="11719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08991" indent="-292999" algn="l" defTabSz="11719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94989" indent="-292999" algn="l" defTabSz="11719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980988" indent="-292999" algn="l" defTabSz="11719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chemeClr val="accent5"/>
              </a:buClr>
              <a:buNone/>
            </a:pPr>
            <a:r>
              <a:rPr lang="de-DE" sz="1600">
                <a:solidFill>
                  <a:srgbClr val="6F6F6F"/>
                </a:solidFill>
              </a:rPr>
              <a:t>Nutzung &amp; Betrieb</a:t>
            </a:r>
          </a:p>
        </p:txBody>
      </p:sp>
      <p:sp>
        <p:nvSpPr>
          <p:cNvPr id="23" name="Textplatzhalter 13"/>
          <p:cNvSpPr txBox="1">
            <a:spLocks/>
          </p:cNvSpPr>
          <p:nvPr userDrawn="1"/>
        </p:nvSpPr>
        <p:spPr>
          <a:xfrm>
            <a:off x="8975635" y="2284631"/>
            <a:ext cx="1597233" cy="360975"/>
          </a:xfrm>
          <a:prstGeom prst="rect">
            <a:avLst/>
          </a:prstGeom>
        </p:spPr>
        <p:txBody>
          <a:bodyPr lIns="180001" tIns="0" rIns="0" bIns="0"/>
          <a:lstStyle>
            <a:lvl1pPr marL="304747" indent="-304747" algn="l" defTabSz="1171998" rtl="0" eaLnBrk="1" latinLnBrk="0" hangingPunct="1">
              <a:lnSpc>
                <a:spcPct val="100000"/>
              </a:lnSpc>
              <a:spcBef>
                <a:spcPts val="1066"/>
              </a:spcBef>
              <a:buClr>
                <a:schemeClr val="tx1"/>
              </a:buClr>
              <a:buSzPct val="80000"/>
              <a:buFont typeface="Wingdings 3" panose="05040102010807070707" pitchFamily="18" charset="2"/>
              <a:buChar char="u"/>
              <a:defRPr sz="2700" b="0" i="0" kern="900" spc="0">
                <a:solidFill>
                  <a:schemeClr val="tx1"/>
                </a:solidFill>
                <a:latin typeface="+mn-lt"/>
                <a:ea typeface="+mn-ea"/>
                <a:cs typeface="3ds Light"/>
              </a:defRPr>
            </a:lvl1pPr>
            <a:lvl2pPr marL="533307" marR="0" indent="-234910" algn="l" defTabSz="1171998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 3" panose="05040102010807070707" pitchFamily="18" charset="2"/>
              <a:buChar char="w"/>
              <a:tabLst/>
              <a:defRPr sz="2400" b="0" i="0" kern="900" spc="0" baseline="0">
                <a:solidFill>
                  <a:schemeClr val="tx1"/>
                </a:solidFill>
                <a:latin typeface="+mn-lt"/>
                <a:ea typeface="+mn-ea"/>
                <a:cs typeface="3ds Light"/>
              </a:defRPr>
            </a:lvl2pPr>
            <a:lvl3pPr marL="838053" marR="0" indent="-211630" algn="l" defTabSz="1171998" rtl="0" eaLnBrk="1" fontAlgn="auto" latinLnBrk="0" hangingPunct="1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tx1"/>
              </a:buClr>
              <a:buSzPct val="60000"/>
              <a:buFont typeface="Wingdings 3" panose="05040102010807070707" pitchFamily="18" charset="2"/>
              <a:buChar char="u"/>
              <a:tabLst/>
              <a:defRPr sz="2100" b="0" i="0" kern="900" spc="0">
                <a:solidFill>
                  <a:schemeClr val="tx1"/>
                </a:solidFill>
                <a:latin typeface="+mn-lt"/>
                <a:ea typeface="+mn-ea"/>
                <a:cs typeface="3ds Light"/>
              </a:defRPr>
            </a:lvl3pPr>
            <a:lvl4pPr marL="1142800" indent="-239142" algn="l" defTabSz="1171998" rtl="0" eaLnBrk="1" latinLnBrk="0" hangingPunct="1">
              <a:lnSpc>
                <a:spcPct val="100000"/>
              </a:lnSpc>
              <a:spcBef>
                <a:spcPts val="533"/>
              </a:spcBef>
              <a:buClr>
                <a:schemeClr val="tx1"/>
              </a:buClr>
              <a:buSzPct val="60000"/>
              <a:buFont typeface="Wingdings 3" panose="05040102010807070707" pitchFamily="18" charset="2"/>
              <a:buChar char="w"/>
              <a:defRPr sz="1900" b="0" i="0" kern="900" spc="-93">
                <a:solidFill>
                  <a:schemeClr val="tx1"/>
                </a:solidFill>
                <a:latin typeface="+mn-lt"/>
                <a:ea typeface="+mn-ea"/>
                <a:cs typeface="3ds Light"/>
              </a:defRPr>
            </a:lvl4pPr>
            <a:lvl5pPr marL="1218987" indent="0" algn="l" defTabSz="1371360" rtl="0" eaLnBrk="1" latinLnBrk="0" hangingPunct="1">
              <a:lnSpc>
                <a:spcPct val="100000"/>
              </a:lnSpc>
              <a:spcBef>
                <a:spcPts val="400"/>
              </a:spcBef>
              <a:buFont typeface="Arial"/>
              <a:buNone/>
              <a:defRPr sz="1600" b="0" i="0" kern="1200" baseline="0">
                <a:solidFill>
                  <a:schemeClr val="tx1"/>
                </a:solidFill>
                <a:latin typeface="+mn-lt"/>
                <a:ea typeface="+mn-ea"/>
                <a:cs typeface="3ds Light"/>
              </a:defRPr>
            </a:lvl5pPr>
            <a:lvl6pPr marL="3222993" indent="-292999" algn="l" defTabSz="11719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08991" indent="-292999" algn="l" defTabSz="11719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94989" indent="-292999" algn="l" defTabSz="11719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980988" indent="-292999" algn="l" defTabSz="11719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chemeClr val="accent5"/>
              </a:buClr>
              <a:buNone/>
            </a:pPr>
            <a:r>
              <a:rPr lang="de-DE" sz="1600">
                <a:solidFill>
                  <a:srgbClr val="6F6F6F"/>
                </a:solidFill>
              </a:rPr>
              <a:t>Restwert</a:t>
            </a:r>
          </a:p>
        </p:txBody>
      </p:sp>
      <p:cxnSp>
        <p:nvCxnSpPr>
          <p:cNvPr id="24" name="Gewinkelte Verbindung 23"/>
          <p:cNvCxnSpPr/>
          <p:nvPr userDrawn="1"/>
        </p:nvCxnSpPr>
        <p:spPr>
          <a:xfrm rot="5400000">
            <a:off x="2079651" y="2878257"/>
            <a:ext cx="991395" cy="108017"/>
          </a:xfrm>
          <a:prstGeom prst="bentConnector3">
            <a:avLst>
              <a:gd name="adj1" fmla="val -233"/>
            </a:avLst>
          </a:prstGeom>
          <a:ln w="12700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Gewinkelte Verbindung 24"/>
          <p:cNvCxnSpPr/>
          <p:nvPr userDrawn="1"/>
        </p:nvCxnSpPr>
        <p:spPr>
          <a:xfrm rot="5400000">
            <a:off x="8530103" y="2878257"/>
            <a:ext cx="991395" cy="108017"/>
          </a:xfrm>
          <a:prstGeom prst="bentConnector3">
            <a:avLst>
              <a:gd name="adj1" fmla="val -233"/>
            </a:avLst>
          </a:prstGeom>
          <a:ln w="12700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8" name="Fußzeilenplatzhalter 2"/>
          <p:cNvSpPr>
            <a:spLocks noGrp="1"/>
          </p:cNvSpPr>
          <p:nvPr>
            <p:ph type="ftr" sz="quarter" idx="3"/>
          </p:nvPr>
        </p:nvSpPr>
        <p:spPr>
          <a:xfrm>
            <a:off x="4122537" y="6192000"/>
            <a:ext cx="7380962" cy="66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6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Ringvorlesung – Digitale Transformation bei Schmitz Cargobull</a:t>
            </a:r>
          </a:p>
        </p:txBody>
      </p:sp>
      <p:sp>
        <p:nvSpPr>
          <p:cNvPr id="29" name="Datumsplatzhalter 4"/>
          <p:cNvSpPr>
            <a:spLocks noGrp="1"/>
          </p:cNvSpPr>
          <p:nvPr>
            <p:ph type="dt" sz="half" idx="2"/>
          </p:nvPr>
        </p:nvSpPr>
        <p:spPr>
          <a:xfrm>
            <a:off x="2520328" y="6191559"/>
            <a:ext cx="1602209" cy="66644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6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17.01.2019</a:t>
            </a:r>
          </a:p>
        </p:txBody>
      </p:sp>
    </p:spTree>
    <p:extLst>
      <p:ext uri="{BB962C8B-B14F-4D97-AF65-F5344CB8AC3E}">
        <p14:creationId xmlns:p14="http://schemas.microsoft.com/office/powerpoint/2010/main" val="60605606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pic>
        <p:nvPicPr>
          <p:cNvPr id="3" name="Grafik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3441" y="1691633"/>
            <a:ext cx="12163531" cy="4497387"/>
          </a:xfrm>
          <a:prstGeom prst="rect">
            <a:avLst/>
          </a:prstGeom>
          <a:solidFill>
            <a:srgbClr val="FEFEFE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Fußzeilenplatzhalter 2"/>
          <p:cNvSpPr>
            <a:spLocks noGrp="1"/>
          </p:cNvSpPr>
          <p:nvPr>
            <p:ph type="ftr" sz="quarter" idx="3"/>
          </p:nvPr>
        </p:nvSpPr>
        <p:spPr>
          <a:xfrm>
            <a:off x="4122537" y="6192000"/>
            <a:ext cx="7380962" cy="66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6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Ringvorlesung – Digitale Transformation bei Schmitz Cargobull</a:t>
            </a:r>
          </a:p>
        </p:txBody>
      </p:sp>
      <p:sp>
        <p:nvSpPr>
          <p:cNvPr id="7" name="Datumsplatzhalter 4"/>
          <p:cNvSpPr>
            <a:spLocks noGrp="1"/>
          </p:cNvSpPr>
          <p:nvPr>
            <p:ph type="dt" sz="half" idx="2"/>
          </p:nvPr>
        </p:nvSpPr>
        <p:spPr>
          <a:xfrm>
            <a:off x="2520328" y="6191559"/>
            <a:ext cx="1602209" cy="66644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6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17.01.2019</a:t>
            </a:r>
          </a:p>
        </p:txBody>
      </p:sp>
    </p:spTree>
    <p:extLst>
      <p:ext uri="{BB962C8B-B14F-4D97-AF65-F5344CB8AC3E}">
        <p14:creationId xmlns:p14="http://schemas.microsoft.com/office/powerpoint/2010/main" val="426424915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pic>
        <p:nvPicPr>
          <p:cNvPr id="5" name="Grafik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3441" y="1704549"/>
            <a:ext cx="12163531" cy="4497387"/>
          </a:xfrm>
          <a:prstGeom prst="rect">
            <a:avLst/>
          </a:prstGeom>
          <a:solidFill>
            <a:srgbClr val="FEFEFE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ußzeilenplatzhalter 2"/>
          <p:cNvSpPr>
            <a:spLocks noGrp="1"/>
          </p:cNvSpPr>
          <p:nvPr>
            <p:ph type="ftr" sz="quarter" idx="3"/>
          </p:nvPr>
        </p:nvSpPr>
        <p:spPr>
          <a:xfrm>
            <a:off x="4122537" y="6192000"/>
            <a:ext cx="7380962" cy="66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6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Ringvorlesung – Digitale Transformation bei Schmitz Cargobull</a:t>
            </a:r>
          </a:p>
        </p:txBody>
      </p:sp>
      <p:sp>
        <p:nvSpPr>
          <p:cNvPr id="8" name="Datumsplatzhalter 4"/>
          <p:cNvSpPr>
            <a:spLocks noGrp="1"/>
          </p:cNvSpPr>
          <p:nvPr>
            <p:ph type="dt" sz="half" idx="2"/>
          </p:nvPr>
        </p:nvSpPr>
        <p:spPr>
          <a:xfrm>
            <a:off x="2520328" y="6191559"/>
            <a:ext cx="1602209" cy="66644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6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17.01.2019</a:t>
            </a:r>
          </a:p>
        </p:txBody>
      </p:sp>
    </p:spTree>
    <p:extLst>
      <p:ext uri="{BB962C8B-B14F-4D97-AF65-F5344CB8AC3E}">
        <p14:creationId xmlns:p14="http://schemas.microsoft.com/office/powerpoint/2010/main" val="405367022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 userDrawn="1"/>
        </p:nvGraphicFramePr>
        <p:xfrm>
          <a:off x="673592" y="1710981"/>
          <a:ext cx="7142691" cy="4478971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209570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83592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21106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01656">
                <a:tc>
                  <a:txBody>
                    <a:bodyPr/>
                    <a:lstStyle/>
                    <a:p>
                      <a:pPr algn="l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600" b="0" i="0">
                          <a:solidFill>
                            <a:schemeClr val="bg1"/>
                          </a:solidFill>
                        </a:rPr>
                        <a:t>Topic</a:t>
                      </a:r>
                    </a:p>
                  </a:txBody>
                  <a:tcPr marL="180023" marR="180023" marT="108000" marB="10800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600" b="0" i="0">
                          <a:solidFill>
                            <a:schemeClr val="bg1"/>
                          </a:solidFill>
                        </a:rPr>
                        <a:t>Column</a:t>
                      </a:r>
                      <a:r>
                        <a:rPr lang="en-US" sz="1600" b="0" i="0" baseline="0">
                          <a:solidFill>
                            <a:schemeClr val="bg1"/>
                          </a:solidFill>
                        </a:rPr>
                        <a:t> 1</a:t>
                      </a:r>
                      <a:endParaRPr lang="en-US" sz="1600" b="0" i="0">
                        <a:solidFill>
                          <a:schemeClr val="bg1"/>
                        </a:solidFill>
                      </a:endParaRPr>
                    </a:p>
                  </a:txBody>
                  <a:tcPr marL="180023" marR="180023" marT="108000" marB="10800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600" b="0" i="0">
                          <a:solidFill>
                            <a:schemeClr val="bg1"/>
                          </a:solidFill>
                        </a:rPr>
                        <a:t>Column</a:t>
                      </a:r>
                      <a:r>
                        <a:rPr lang="en-US" sz="1600" b="0" i="0" baseline="0">
                          <a:solidFill>
                            <a:schemeClr val="bg1"/>
                          </a:solidFill>
                        </a:rPr>
                        <a:t> 2</a:t>
                      </a:r>
                      <a:endParaRPr lang="en-US" sz="1600" b="0" i="0">
                        <a:solidFill>
                          <a:schemeClr val="bg1"/>
                        </a:solidFill>
                      </a:endParaRPr>
                    </a:p>
                  </a:txBody>
                  <a:tcPr marL="180023" marR="180023" marT="108000" marB="10800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74152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600" b="1">
                          <a:solidFill>
                            <a:schemeClr val="accent2"/>
                          </a:solidFill>
                        </a:rPr>
                        <a:t>Topic 1</a:t>
                      </a:r>
                    </a:p>
                  </a:txBody>
                  <a:tcPr marL="180023" marR="180023" marT="108000" marB="10800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1600" b="0" err="1">
                          <a:ea typeface="Arial"/>
                        </a:rPr>
                        <a:t>Etiam</a:t>
                      </a:r>
                      <a:r>
                        <a:rPr lang="en-US" altLang="zh-CN" sz="1600" b="0">
                          <a:ea typeface="Arial"/>
                        </a:rPr>
                        <a:t> </a:t>
                      </a:r>
                      <a:r>
                        <a:rPr lang="en-US" altLang="zh-CN" sz="1600" b="0" err="1">
                          <a:ea typeface="Arial"/>
                        </a:rPr>
                        <a:t>rhoncus</a:t>
                      </a:r>
                      <a:r>
                        <a:rPr lang="en-US" altLang="zh-CN" sz="1600" b="0">
                          <a:ea typeface="Arial"/>
                        </a:rPr>
                        <a:t>. Maecenas tempus, </a:t>
                      </a:r>
                      <a:r>
                        <a:rPr lang="en-US" altLang="zh-CN" sz="1600" b="0" err="1">
                          <a:ea typeface="Arial"/>
                        </a:rPr>
                        <a:t>tellus</a:t>
                      </a:r>
                      <a:r>
                        <a:rPr lang="en-US" altLang="zh-CN" sz="1600" b="0">
                          <a:ea typeface="Arial"/>
                        </a:rPr>
                        <a:t> </a:t>
                      </a:r>
                      <a:r>
                        <a:rPr lang="en-US" altLang="zh-CN" sz="1600" b="0" err="1">
                          <a:ea typeface="Arial"/>
                        </a:rPr>
                        <a:t>eget</a:t>
                      </a:r>
                      <a:r>
                        <a:rPr lang="en-US" altLang="zh-CN" sz="1600" b="0">
                          <a:ea typeface="Arial"/>
                        </a:rPr>
                        <a:t>.</a:t>
                      </a:r>
                    </a:p>
                  </a:txBody>
                  <a:tcPr marL="180023" marR="180023" marT="108000" marB="10800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1600" b="0" err="1">
                          <a:ea typeface="Arial"/>
                        </a:rPr>
                        <a:t>Etiam</a:t>
                      </a:r>
                      <a:r>
                        <a:rPr lang="en-US" altLang="zh-CN" sz="1600" b="0">
                          <a:ea typeface="Arial"/>
                        </a:rPr>
                        <a:t> </a:t>
                      </a:r>
                      <a:r>
                        <a:rPr lang="en-US" altLang="zh-CN" sz="1600" b="0" err="1">
                          <a:ea typeface="Arial"/>
                        </a:rPr>
                        <a:t>rhoncus</a:t>
                      </a:r>
                      <a:r>
                        <a:rPr lang="en-US" altLang="zh-CN" sz="1600" b="0">
                          <a:ea typeface="Arial"/>
                        </a:rPr>
                        <a:t>. Maecenas tempus, </a:t>
                      </a:r>
                      <a:r>
                        <a:rPr lang="en-US" altLang="zh-CN" sz="1600" b="0" err="1">
                          <a:ea typeface="Arial"/>
                        </a:rPr>
                        <a:t>tellus</a:t>
                      </a:r>
                      <a:r>
                        <a:rPr lang="en-US" altLang="zh-CN" sz="1600" b="0">
                          <a:ea typeface="Arial"/>
                        </a:rPr>
                        <a:t> </a:t>
                      </a:r>
                      <a:r>
                        <a:rPr lang="en-US" altLang="zh-CN" sz="1600" b="0" err="1">
                          <a:ea typeface="Arial"/>
                        </a:rPr>
                        <a:t>eget</a:t>
                      </a:r>
                      <a:r>
                        <a:rPr lang="en-US" altLang="zh-CN" sz="1600" b="0">
                          <a:ea typeface="Arial"/>
                        </a:rPr>
                        <a:t>.</a:t>
                      </a:r>
                    </a:p>
                  </a:txBody>
                  <a:tcPr marL="180023" marR="180023" marT="108000" marB="10800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65055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600" b="1">
                          <a:solidFill>
                            <a:schemeClr val="accent2"/>
                          </a:solidFill>
                        </a:rPr>
                        <a:t>Topic 2</a:t>
                      </a:r>
                    </a:p>
                  </a:txBody>
                  <a:tcPr marL="180023" marR="180023" marT="108000" marB="10800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1600" b="0" err="1">
                          <a:ea typeface="Arial"/>
                        </a:rPr>
                        <a:t>Etiam</a:t>
                      </a:r>
                      <a:r>
                        <a:rPr lang="en-US" altLang="zh-CN" sz="1600" b="0">
                          <a:ea typeface="Arial"/>
                        </a:rPr>
                        <a:t> </a:t>
                      </a:r>
                      <a:r>
                        <a:rPr lang="en-US" altLang="zh-CN" sz="1600" b="0" err="1">
                          <a:ea typeface="Arial"/>
                        </a:rPr>
                        <a:t>rhoncus</a:t>
                      </a:r>
                      <a:r>
                        <a:rPr lang="en-US" altLang="zh-CN" sz="1600" b="0">
                          <a:ea typeface="Arial"/>
                        </a:rPr>
                        <a:t>. Maecenas tempus, </a:t>
                      </a:r>
                      <a:r>
                        <a:rPr lang="en-US" altLang="zh-CN" sz="1600" b="0" err="1">
                          <a:ea typeface="Arial"/>
                        </a:rPr>
                        <a:t>tellus</a:t>
                      </a:r>
                      <a:r>
                        <a:rPr lang="en-US" altLang="zh-CN" sz="1600" b="0">
                          <a:ea typeface="Arial"/>
                        </a:rPr>
                        <a:t> </a:t>
                      </a:r>
                      <a:r>
                        <a:rPr lang="en-US" altLang="zh-CN" sz="1600" b="0" err="1">
                          <a:ea typeface="Arial"/>
                        </a:rPr>
                        <a:t>eget</a:t>
                      </a:r>
                      <a:r>
                        <a:rPr lang="en-US" altLang="zh-CN" sz="1600" b="0">
                          <a:ea typeface="Arial"/>
                        </a:rPr>
                        <a:t>.</a:t>
                      </a:r>
                    </a:p>
                  </a:txBody>
                  <a:tcPr marL="180023" marR="180023" marT="108000" marB="10800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1600" b="0" err="1">
                          <a:ea typeface="Arial"/>
                        </a:rPr>
                        <a:t>Etiam</a:t>
                      </a:r>
                      <a:r>
                        <a:rPr lang="en-US" altLang="zh-CN" sz="1600" b="0">
                          <a:ea typeface="Arial"/>
                        </a:rPr>
                        <a:t> </a:t>
                      </a:r>
                      <a:r>
                        <a:rPr lang="en-US" altLang="zh-CN" sz="1600" b="0" err="1">
                          <a:ea typeface="Arial"/>
                        </a:rPr>
                        <a:t>rhoncus</a:t>
                      </a:r>
                      <a:r>
                        <a:rPr lang="en-US" altLang="zh-CN" sz="1600" b="0">
                          <a:ea typeface="Arial"/>
                        </a:rPr>
                        <a:t>. Maecenas tempus.</a:t>
                      </a:r>
                    </a:p>
                  </a:txBody>
                  <a:tcPr marL="180023" marR="180023" marT="108000" marB="10800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30312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600" b="1">
                          <a:solidFill>
                            <a:schemeClr val="accent2"/>
                          </a:solidFill>
                        </a:rPr>
                        <a:t>Topic 3</a:t>
                      </a:r>
                    </a:p>
                  </a:txBody>
                  <a:tcPr marL="180023" marR="180023" marT="108000" marB="10800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1600" b="0" err="1">
                          <a:ea typeface="Arial"/>
                        </a:rPr>
                        <a:t>Etiam</a:t>
                      </a:r>
                      <a:r>
                        <a:rPr lang="en-US" altLang="zh-CN" sz="1600" b="0">
                          <a:ea typeface="Arial"/>
                        </a:rPr>
                        <a:t> </a:t>
                      </a:r>
                      <a:r>
                        <a:rPr lang="en-US" altLang="zh-CN" sz="1600" b="0" err="1">
                          <a:ea typeface="Arial"/>
                        </a:rPr>
                        <a:t>rhoncus</a:t>
                      </a:r>
                      <a:r>
                        <a:rPr lang="en-US" altLang="zh-CN" sz="1600" b="0">
                          <a:ea typeface="Arial"/>
                        </a:rPr>
                        <a:t>. Maecenas tempus, </a:t>
                      </a:r>
                      <a:r>
                        <a:rPr lang="en-US" altLang="zh-CN" sz="1600" b="0" err="1">
                          <a:ea typeface="Arial"/>
                        </a:rPr>
                        <a:t>tellus</a:t>
                      </a:r>
                      <a:r>
                        <a:rPr lang="en-US" altLang="zh-CN" sz="1600" b="0">
                          <a:ea typeface="Arial"/>
                        </a:rPr>
                        <a:t> </a:t>
                      </a:r>
                      <a:r>
                        <a:rPr lang="en-US" altLang="zh-CN" sz="1600" b="0" err="1">
                          <a:ea typeface="Arial"/>
                        </a:rPr>
                        <a:t>eget</a:t>
                      </a:r>
                      <a:r>
                        <a:rPr lang="en-US" altLang="zh-CN" sz="1600" b="0">
                          <a:ea typeface="Arial"/>
                        </a:rPr>
                        <a:t>.</a:t>
                      </a:r>
                    </a:p>
                  </a:txBody>
                  <a:tcPr marL="180023" marR="180023" marT="108000" marB="10800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1600" b="0" err="1">
                          <a:ea typeface="Arial"/>
                        </a:rPr>
                        <a:t>Etiam</a:t>
                      </a:r>
                      <a:r>
                        <a:rPr lang="en-US" altLang="zh-CN" sz="1600" b="0">
                          <a:ea typeface="Arial"/>
                        </a:rPr>
                        <a:t> </a:t>
                      </a:r>
                      <a:r>
                        <a:rPr lang="en-US" altLang="zh-CN" sz="1600" b="0" err="1">
                          <a:ea typeface="Arial"/>
                        </a:rPr>
                        <a:t>rhoncus</a:t>
                      </a:r>
                      <a:r>
                        <a:rPr lang="en-US" altLang="zh-CN" sz="1600" b="0">
                          <a:ea typeface="Arial"/>
                        </a:rPr>
                        <a:t>. Maecenas tempus.</a:t>
                      </a:r>
                    </a:p>
                  </a:txBody>
                  <a:tcPr marL="180023" marR="180023" marT="108000" marB="10800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77484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600" b="1">
                          <a:solidFill>
                            <a:schemeClr val="accent2"/>
                          </a:solidFill>
                        </a:rPr>
                        <a:t>Topic 4</a:t>
                      </a:r>
                    </a:p>
                  </a:txBody>
                  <a:tcPr marL="180023" marR="180023" marT="108000" marB="10800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1600" b="0" err="1">
                          <a:ea typeface="Arial"/>
                        </a:rPr>
                        <a:t>Etiam</a:t>
                      </a:r>
                      <a:r>
                        <a:rPr lang="en-US" altLang="zh-CN" sz="1600" b="0">
                          <a:ea typeface="Arial"/>
                        </a:rPr>
                        <a:t> </a:t>
                      </a:r>
                      <a:r>
                        <a:rPr lang="en-US" altLang="zh-CN" sz="1600" b="0" err="1">
                          <a:ea typeface="Arial"/>
                        </a:rPr>
                        <a:t>rhoncus</a:t>
                      </a:r>
                      <a:r>
                        <a:rPr lang="en-US" altLang="zh-CN" sz="1600" b="0">
                          <a:ea typeface="Arial"/>
                        </a:rPr>
                        <a:t>. Maecenas tempus, </a:t>
                      </a:r>
                      <a:r>
                        <a:rPr lang="en-US" altLang="zh-CN" sz="1600" b="0" err="1">
                          <a:ea typeface="Arial"/>
                        </a:rPr>
                        <a:t>tellus</a:t>
                      </a:r>
                      <a:r>
                        <a:rPr lang="en-US" altLang="zh-CN" sz="1600" b="0">
                          <a:ea typeface="Arial"/>
                        </a:rPr>
                        <a:t> </a:t>
                      </a:r>
                      <a:r>
                        <a:rPr lang="en-US" altLang="zh-CN" sz="1600" b="0" err="1">
                          <a:ea typeface="Arial"/>
                        </a:rPr>
                        <a:t>eget</a:t>
                      </a:r>
                      <a:r>
                        <a:rPr lang="en-US" altLang="zh-CN" sz="1600" b="0">
                          <a:ea typeface="Arial"/>
                        </a:rPr>
                        <a:t>.</a:t>
                      </a:r>
                    </a:p>
                  </a:txBody>
                  <a:tcPr marL="180023" marR="180023" marT="108000" marB="10800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1600" b="0" err="1">
                          <a:ea typeface="Arial"/>
                        </a:rPr>
                        <a:t>Etiam</a:t>
                      </a:r>
                      <a:r>
                        <a:rPr lang="en-US" altLang="zh-CN" sz="1600" b="0">
                          <a:ea typeface="Arial"/>
                        </a:rPr>
                        <a:t> </a:t>
                      </a:r>
                      <a:r>
                        <a:rPr lang="en-US" altLang="zh-CN" sz="1600" b="0" err="1">
                          <a:ea typeface="Arial"/>
                        </a:rPr>
                        <a:t>rhoncus</a:t>
                      </a:r>
                      <a:r>
                        <a:rPr lang="en-US" altLang="zh-CN" sz="1600" b="0">
                          <a:ea typeface="Arial"/>
                        </a:rPr>
                        <a:t>. Maecenas tempus.</a:t>
                      </a:r>
                    </a:p>
                  </a:txBody>
                  <a:tcPr marL="180023" marR="180023" marT="108000" marB="10800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30312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600" b="1">
                          <a:solidFill>
                            <a:schemeClr val="accent2"/>
                          </a:solidFill>
                        </a:rPr>
                        <a:t>Topic 5</a:t>
                      </a:r>
                    </a:p>
                  </a:txBody>
                  <a:tcPr marL="180023" marR="180023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1600" b="0" err="1">
                          <a:ea typeface="Arial"/>
                        </a:rPr>
                        <a:t>Etiam</a:t>
                      </a:r>
                      <a:r>
                        <a:rPr lang="en-US" altLang="zh-CN" sz="1600" b="0">
                          <a:ea typeface="Arial"/>
                        </a:rPr>
                        <a:t> </a:t>
                      </a:r>
                      <a:r>
                        <a:rPr lang="en-US" altLang="zh-CN" sz="1600" b="0" err="1">
                          <a:ea typeface="Arial"/>
                        </a:rPr>
                        <a:t>rhoncus</a:t>
                      </a:r>
                      <a:r>
                        <a:rPr lang="en-US" altLang="zh-CN" sz="1600" b="0">
                          <a:ea typeface="Arial"/>
                        </a:rPr>
                        <a:t>. Maecenas tempus, </a:t>
                      </a:r>
                      <a:r>
                        <a:rPr lang="en-US" altLang="zh-CN" sz="1600" b="0" err="1">
                          <a:ea typeface="Arial"/>
                        </a:rPr>
                        <a:t>tellus</a:t>
                      </a:r>
                      <a:r>
                        <a:rPr lang="en-US" altLang="zh-CN" sz="1600" b="0">
                          <a:ea typeface="Arial"/>
                        </a:rPr>
                        <a:t> </a:t>
                      </a:r>
                      <a:r>
                        <a:rPr lang="en-US" altLang="zh-CN" sz="1600" b="0" err="1">
                          <a:ea typeface="Arial"/>
                        </a:rPr>
                        <a:t>eget</a:t>
                      </a:r>
                      <a:r>
                        <a:rPr lang="en-US" altLang="zh-CN" sz="1600" b="0">
                          <a:ea typeface="Arial"/>
                        </a:rPr>
                        <a:t>.</a:t>
                      </a:r>
                    </a:p>
                  </a:txBody>
                  <a:tcPr marL="180023" marR="180023" marT="108000" marB="10800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1600" b="0" err="1">
                          <a:ea typeface="Arial"/>
                        </a:rPr>
                        <a:t>Etiam</a:t>
                      </a:r>
                      <a:r>
                        <a:rPr lang="en-US" altLang="zh-CN" sz="1600" b="0">
                          <a:ea typeface="Arial"/>
                        </a:rPr>
                        <a:t> </a:t>
                      </a:r>
                      <a:r>
                        <a:rPr lang="en-US" altLang="zh-CN" sz="1600" b="0" err="1">
                          <a:ea typeface="Arial"/>
                        </a:rPr>
                        <a:t>rhoncus</a:t>
                      </a:r>
                      <a:r>
                        <a:rPr lang="en-US" altLang="zh-CN" sz="1600" b="0">
                          <a:ea typeface="Arial"/>
                        </a:rPr>
                        <a:t>. Maecenas tempus.</a:t>
                      </a:r>
                    </a:p>
                  </a:txBody>
                  <a:tcPr marL="180023" marR="180023" marT="108000" marB="10800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9" name="Textplatzhalter 3"/>
          <p:cNvSpPr>
            <a:spLocks noGrp="1"/>
          </p:cNvSpPr>
          <p:nvPr>
            <p:ph type="body" idx="10"/>
          </p:nvPr>
        </p:nvSpPr>
        <p:spPr>
          <a:xfrm>
            <a:off x="8053238" y="1632794"/>
            <a:ext cx="3467163" cy="344487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2266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idx="11"/>
          </p:nvPr>
        </p:nvSpPr>
        <p:spPr>
          <a:xfrm>
            <a:off x="8053238" y="2274487"/>
            <a:ext cx="3467163" cy="3915619"/>
          </a:xfrm>
          <a:prstGeom prst="rect">
            <a:avLst/>
          </a:prstGeom>
        </p:spPr>
        <p:txBody>
          <a:bodyPr vert="horz" lIns="0" tIns="0" rIns="0" bIns="0"/>
          <a:lstStyle>
            <a:lvl1pPr marL="342911" indent="-342911">
              <a:buClr>
                <a:schemeClr val="accent5"/>
              </a:buClr>
              <a:buSzPct val="100000"/>
              <a:buFont typeface="+mj-lt"/>
              <a:buAutoNum type="arabicPeriod"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1" name="Titel 1"/>
          <p:cNvSpPr>
            <a:spLocks noGrp="1"/>
          </p:cNvSpPr>
          <p:nvPr>
            <p:ph type="title"/>
          </p:nvPr>
        </p:nvSpPr>
        <p:spPr>
          <a:xfrm>
            <a:off x="2517558" y="651516"/>
            <a:ext cx="9002844" cy="66198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8" name="Fußzeilenplatzhalter 2"/>
          <p:cNvSpPr>
            <a:spLocks noGrp="1"/>
          </p:cNvSpPr>
          <p:nvPr>
            <p:ph type="ftr" sz="quarter" idx="3"/>
          </p:nvPr>
        </p:nvSpPr>
        <p:spPr>
          <a:xfrm>
            <a:off x="4122537" y="6192000"/>
            <a:ext cx="7380962" cy="66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6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Ringvorlesung – Digitale Transformation bei Schmitz Cargobull</a:t>
            </a:r>
          </a:p>
        </p:txBody>
      </p:sp>
      <p:sp>
        <p:nvSpPr>
          <p:cNvPr id="12" name="Datumsplatzhalter 4"/>
          <p:cNvSpPr>
            <a:spLocks noGrp="1"/>
          </p:cNvSpPr>
          <p:nvPr>
            <p:ph type="dt" sz="half" idx="2"/>
          </p:nvPr>
        </p:nvSpPr>
        <p:spPr>
          <a:xfrm>
            <a:off x="2520328" y="6191559"/>
            <a:ext cx="1602209" cy="66644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6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17.01.2019</a:t>
            </a:r>
          </a:p>
        </p:txBody>
      </p:sp>
    </p:spTree>
    <p:extLst>
      <p:ext uri="{BB962C8B-B14F-4D97-AF65-F5344CB8AC3E}">
        <p14:creationId xmlns:p14="http://schemas.microsoft.com/office/powerpoint/2010/main" val="282120411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/>
          <p:cNvSpPr>
            <a:spLocks noGrp="1"/>
          </p:cNvSpPr>
          <p:nvPr>
            <p:ph type="pic" sz="quarter" idx="32"/>
          </p:nvPr>
        </p:nvSpPr>
        <p:spPr>
          <a:xfrm>
            <a:off x="670014" y="1701800"/>
            <a:ext cx="3450087" cy="1463421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vert="horz" lIns="68589" tIns="34295" rIns="68589" bIns="34295"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idx="11"/>
          </p:nvPr>
        </p:nvSpPr>
        <p:spPr>
          <a:xfrm>
            <a:off x="660487" y="3885220"/>
            <a:ext cx="3467163" cy="2288507"/>
          </a:xfrm>
          <a:prstGeom prst="rect">
            <a:avLst/>
          </a:prstGeom>
        </p:spPr>
        <p:txBody>
          <a:bodyPr vert="horz" lIns="0" tIns="94513" rIns="0" bIns="0"/>
          <a:lstStyle>
            <a:lvl1pPr marL="285759" indent="-285759">
              <a:buClr>
                <a:schemeClr val="accent5"/>
              </a:buClr>
              <a:buSzPct val="100000"/>
              <a:buFont typeface="Arial"/>
              <a:buChar char="•"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idx="10"/>
          </p:nvPr>
        </p:nvSpPr>
        <p:spPr>
          <a:xfrm>
            <a:off x="670013" y="3165220"/>
            <a:ext cx="3457638" cy="720000"/>
          </a:xfrm>
          <a:prstGeom prst="rect">
            <a:avLst/>
          </a:prstGeom>
          <a:solidFill>
            <a:schemeClr val="accent5"/>
          </a:solidFill>
        </p:spPr>
        <p:txBody>
          <a:bodyPr vert="horz" lIns="189025" tIns="0" rIns="189025" bIns="0" anchor="ctr" anchorCtr="0"/>
          <a:lstStyle>
            <a:lvl1pPr marL="0" indent="0">
              <a:buNone/>
              <a:defRPr sz="2266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9" name="Bildplatzhalter 3"/>
          <p:cNvSpPr>
            <a:spLocks noGrp="1"/>
          </p:cNvSpPr>
          <p:nvPr>
            <p:ph type="pic" sz="quarter" idx="33"/>
          </p:nvPr>
        </p:nvSpPr>
        <p:spPr>
          <a:xfrm>
            <a:off x="4370958" y="1701800"/>
            <a:ext cx="3450087" cy="1463421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vert="horz" lIns="68589" tIns="34295" rIns="68589" bIns="34295"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idx="34"/>
          </p:nvPr>
        </p:nvSpPr>
        <p:spPr>
          <a:xfrm>
            <a:off x="4361432" y="3885220"/>
            <a:ext cx="3467163" cy="2288507"/>
          </a:xfrm>
          <a:prstGeom prst="rect">
            <a:avLst/>
          </a:prstGeom>
        </p:spPr>
        <p:txBody>
          <a:bodyPr vert="horz" lIns="0" tIns="94513" rIns="0" bIns="0"/>
          <a:lstStyle>
            <a:lvl1pPr marL="285759" indent="-285759">
              <a:buClr>
                <a:schemeClr val="accent5"/>
              </a:buClr>
              <a:buSzPct val="100000"/>
              <a:buFont typeface="Arial"/>
              <a:buChar char="•"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idx="35"/>
          </p:nvPr>
        </p:nvSpPr>
        <p:spPr>
          <a:xfrm>
            <a:off x="4370956" y="3165220"/>
            <a:ext cx="3457638" cy="720000"/>
          </a:xfrm>
          <a:prstGeom prst="rect">
            <a:avLst/>
          </a:prstGeom>
          <a:solidFill>
            <a:schemeClr val="accent5"/>
          </a:solidFill>
        </p:spPr>
        <p:txBody>
          <a:bodyPr vert="horz" lIns="189025" tIns="0" rIns="189025" bIns="0" anchor="ctr" anchorCtr="0"/>
          <a:lstStyle>
            <a:lvl1pPr marL="0" indent="0">
              <a:buNone/>
              <a:defRPr sz="2266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22" name="Bildplatzhalter 3"/>
          <p:cNvSpPr>
            <a:spLocks noGrp="1"/>
          </p:cNvSpPr>
          <p:nvPr>
            <p:ph type="pic" sz="quarter" idx="36"/>
          </p:nvPr>
        </p:nvSpPr>
        <p:spPr>
          <a:xfrm>
            <a:off x="8073490" y="1701800"/>
            <a:ext cx="3450087" cy="1463421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vert="horz" lIns="68589" tIns="34295" rIns="68589" bIns="34295"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23" name="Textplatzhalter 3"/>
          <p:cNvSpPr>
            <a:spLocks noGrp="1"/>
          </p:cNvSpPr>
          <p:nvPr>
            <p:ph type="body" idx="37"/>
          </p:nvPr>
        </p:nvSpPr>
        <p:spPr>
          <a:xfrm>
            <a:off x="8063963" y="3885220"/>
            <a:ext cx="3467163" cy="2288507"/>
          </a:xfrm>
          <a:prstGeom prst="rect">
            <a:avLst/>
          </a:prstGeom>
        </p:spPr>
        <p:txBody>
          <a:bodyPr vert="horz" lIns="0" tIns="94513" rIns="0" bIns="0"/>
          <a:lstStyle>
            <a:lvl1pPr marL="285759" indent="-285759">
              <a:buClr>
                <a:schemeClr val="accent5"/>
              </a:buClr>
              <a:buSzPct val="100000"/>
              <a:buFont typeface="Arial"/>
              <a:buChar char="•"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4" name="Textplatzhalter 3"/>
          <p:cNvSpPr>
            <a:spLocks noGrp="1"/>
          </p:cNvSpPr>
          <p:nvPr>
            <p:ph type="body" idx="38"/>
          </p:nvPr>
        </p:nvSpPr>
        <p:spPr>
          <a:xfrm>
            <a:off x="8073489" y="3165220"/>
            <a:ext cx="3457638" cy="720000"/>
          </a:xfrm>
          <a:prstGeom prst="rect">
            <a:avLst/>
          </a:prstGeom>
          <a:solidFill>
            <a:schemeClr val="accent5"/>
          </a:solidFill>
        </p:spPr>
        <p:txBody>
          <a:bodyPr vert="horz" lIns="189025" tIns="0" rIns="189025" bIns="0" anchor="ctr" anchorCtr="0"/>
          <a:lstStyle>
            <a:lvl1pPr marL="0" indent="0">
              <a:buNone/>
              <a:defRPr sz="2266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25" name="Titel 1"/>
          <p:cNvSpPr>
            <a:spLocks noGrp="1"/>
          </p:cNvSpPr>
          <p:nvPr>
            <p:ph type="title"/>
          </p:nvPr>
        </p:nvSpPr>
        <p:spPr>
          <a:xfrm>
            <a:off x="2517558" y="651516"/>
            <a:ext cx="9002844" cy="66198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4" name="Fußzeilenplatzhalter 2"/>
          <p:cNvSpPr>
            <a:spLocks noGrp="1"/>
          </p:cNvSpPr>
          <p:nvPr>
            <p:ph type="ftr" sz="quarter" idx="3"/>
          </p:nvPr>
        </p:nvSpPr>
        <p:spPr>
          <a:xfrm>
            <a:off x="4122537" y="6192000"/>
            <a:ext cx="7380962" cy="66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6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Ringvorlesung – Digitale Transformation bei Schmitz Cargobull</a:t>
            </a:r>
          </a:p>
        </p:txBody>
      </p:sp>
      <p:sp>
        <p:nvSpPr>
          <p:cNvPr id="15" name="Datumsplatzhalter 4"/>
          <p:cNvSpPr>
            <a:spLocks noGrp="1"/>
          </p:cNvSpPr>
          <p:nvPr>
            <p:ph type="dt" sz="half" idx="2"/>
          </p:nvPr>
        </p:nvSpPr>
        <p:spPr>
          <a:xfrm>
            <a:off x="2520328" y="6191559"/>
            <a:ext cx="1602209" cy="66644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6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17.01.2019</a:t>
            </a:r>
          </a:p>
        </p:txBody>
      </p:sp>
    </p:spTree>
    <p:extLst>
      <p:ext uri="{BB962C8B-B14F-4D97-AF65-F5344CB8AC3E}">
        <p14:creationId xmlns:p14="http://schemas.microsoft.com/office/powerpoint/2010/main" val="34311701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olor guide</a:t>
            </a:r>
          </a:p>
        </p:txBody>
      </p:sp>
      <p:sp>
        <p:nvSpPr>
          <p:cNvPr id="56" name="TextBox 1"/>
          <p:cNvSpPr txBox="1">
            <a:spLocks noChangeArrowheads="1"/>
          </p:cNvSpPr>
          <p:nvPr userDrawn="1"/>
        </p:nvSpPr>
        <p:spPr bwMode="auto">
          <a:xfrm>
            <a:off x="2517556" y="1618568"/>
            <a:ext cx="2524999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noAutofit/>
          </a:bodyPr>
          <a:lstStyle/>
          <a:p>
            <a:pPr algn="l"/>
            <a:r>
              <a:rPr lang="en-US" sz="2266" b="0">
                <a:solidFill>
                  <a:schemeClr val="accent5"/>
                </a:solidFill>
              </a:rPr>
              <a:t>Use more </a:t>
            </a:r>
            <a:br>
              <a:rPr lang="en-US" sz="2266" b="0">
                <a:solidFill>
                  <a:schemeClr val="accent5"/>
                </a:solidFill>
              </a:rPr>
            </a:br>
            <a:r>
              <a:rPr lang="en-US" sz="2266" b="0">
                <a:solidFill>
                  <a:schemeClr val="accent5"/>
                </a:solidFill>
              </a:rPr>
              <a:t>of these colors</a:t>
            </a:r>
          </a:p>
        </p:txBody>
      </p:sp>
      <p:sp>
        <p:nvSpPr>
          <p:cNvPr id="57" name="TextBox 9"/>
          <p:cNvSpPr txBox="1">
            <a:spLocks noChangeArrowheads="1"/>
          </p:cNvSpPr>
          <p:nvPr userDrawn="1"/>
        </p:nvSpPr>
        <p:spPr bwMode="auto">
          <a:xfrm>
            <a:off x="670012" y="2528575"/>
            <a:ext cx="1592469" cy="11973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0">
            <a:noAutofit/>
          </a:bodyPr>
          <a:lstStyle/>
          <a:p>
            <a:r>
              <a:rPr lang="en-US" sz="2266">
                <a:solidFill>
                  <a:srgbClr val="4D4D4F"/>
                </a:solidFill>
              </a:rPr>
              <a:t>Primary colors</a:t>
            </a:r>
          </a:p>
        </p:txBody>
      </p:sp>
      <p:sp>
        <p:nvSpPr>
          <p:cNvPr id="62" name="TextBox 31"/>
          <p:cNvSpPr txBox="1">
            <a:spLocks noChangeArrowheads="1"/>
          </p:cNvSpPr>
          <p:nvPr userDrawn="1"/>
        </p:nvSpPr>
        <p:spPr bwMode="auto">
          <a:xfrm>
            <a:off x="670011" y="3729763"/>
            <a:ext cx="1592470" cy="1197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0">
            <a:noAutofit/>
          </a:bodyPr>
          <a:lstStyle/>
          <a:p>
            <a:r>
              <a:rPr lang="en-US" sz="2266">
                <a:solidFill>
                  <a:srgbClr val="4D4D4F"/>
                </a:solidFill>
              </a:rPr>
              <a:t>Secondary colors</a:t>
            </a:r>
          </a:p>
        </p:txBody>
      </p:sp>
      <p:sp>
        <p:nvSpPr>
          <p:cNvPr id="67" name="TextBox 40"/>
          <p:cNvSpPr txBox="1">
            <a:spLocks noChangeArrowheads="1"/>
          </p:cNvSpPr>
          <p:nvPr userDrawn="1"/>
        </p:nvSpPr>
        <p:spPr bwMode="auto">
          <a:xfrm>
            <a:off x="5293417" y="1618566"/>
            <a:ext cx="2522865" cy="7060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noAutofit/>
          </a:bodyPr>
          <a:lstStyle/>
          <a:p>
            <a:pPr algn="l"/>
            <a:r>
              <a:rPr lang="en-US" sz="2266" b="0">
                <a:solidFill>
                  <a:srgbClr val="6F6F6F"/>
                </a:solidFill>
              </a:rPr>
              <a:t>Use less </a:t>
            </a:r>
            <a:br>
              <a:rPr lang="en-US" sz="2266" b="0">
                <a:solidFill>
                  <a:srgbClr val="6F6F6F"/>
                </a:solidFill>
              </a:rPr>
            </a:br>
            <a:r>
              <a:rPr lang="en-US" sz="2266" b="0">
                <a:solidFill>
                  <a:srgbClr val="6F6F6F"/>
                </a:solidFill>
              </a:rPr>
              <a:t>of these colors</a:t>
            </a:r>
          </a:p>
        </p:txBody>
      </p:sp>
      <p:sp>
        <p:nvSpPr>
          <p:cNvPr id="68" name="TextBox 41"/>
          <p:cNvSpPr txBox="1">
            <a:spLocks noChangeArrowheads="1"/>
          </p:cNvSpPr>
          <p:nvPr userDrawn="1"/>
        </p:nvSpPr>
        <p:spPr bwMode="auto">
          <a:xfrm>
            <a:off x="8073489" y="1622118"/>
            <a:ext cx="3650138" cy="6973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/>
            <a:r>
              <a:rPr lang="en-US" sz="2266" b="0">
                <a:solidFill>
                  <a:srgbClr val="6F6F6F"/>
                </a:solidFill>
              </a:rPr>
              <a:t>Use this color only when highlighting information</a:t>
            </a:r>
          </a:p>
        </p:txBody>
      </p:sp>
      <p:cxnSp>
        <p:nvCxnSpPr>
          <p:cNvPr id="70" name="Straight Connector 69"/>
          <p:cNvCxnSpPr/>
          <p:nvPr userDrawn="1"/>
        </p:nvCxnSpPr>
        <p:spPr bwMode="auto">
          <a:xfrm>
            <a:off x="5174644" y="1684339"/>
            <a:ext cx="0" cy="4495800"/>
          </a:xfrm>
          <a:prstGeom prst="line">
            <a:avLst/>
          </a:prstGeom>
          <a:ln w="12700" cmpd="sng">
            <a:solidFill>
              <a:srgbClr val="4D4D4F"/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8" name="Rectangle 77"/>
          <p:cNvSpPr/>
          <p:nvPr userDrawn="1"/>
        </p:nvSpPr>
        <p:spPr bwMode="auto">
          <a:xfrm>
            <a:off x="670011" y="4901647"/>
            <a:ext cx="10180377" cy="72000"/>
          </a:xfrm>
          <a:prstGeom prst="rect">
            <a:avLst/>
          </a:prstGeom>
          <a:solidFill>
            <a:srgbClr val="E8EBE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1" rIns="91440" bIns="45721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>
              <a:solidFill>
                <a:srgbClr val="E8EBED"/>
              </a:solidFill>
            </a:endParaRPr>
          </a:p>
        </p:txBody>
      </p:sp>
      <p:sp>
        <p:nvSpPr>
          <p:cNvPr id="86" name="TextBox 50"/>
          <p:cNvSpPr txBox="1">
            <a:spLocks noChangeArrowheads="1"/>
          </p:cNvSpPr>
          <p:nvPr userDrawn="1"/>
        </p:nvSpPr>
        <p:spPr bwMode="auto">
          <a:xfrm>
            <a:off x="683156" y="4990579"/>
            <a:ext cx="1579326" cy="11973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0">
            <a:noAutofit/>
          </a:bodyPr>
          <a:lstStyle/>
          <a:p>
            <a:r>
              <a:rPr lang="en-US" sz="2266">
                <a:solidFill>
                  <a:srgbClr val="4D4D4F"/>
                </a:solidFill>
              </a:rPr>
              <a:t>Primary </a:t>
            </a:r>
            <a:br>
              <a:rPr lang="en-US" sz="2266">
                <a:solidFill>
                  <a:srgbClr val="4D4D4F"/>
                </a:solidFill>
              </a:rPr>
            </a:br>
            <a:r>
              <a:rPr lang="en-US" sz="2266">
                <a:solidFill>
                  <a:srgbClr val="4D4D4F"/>
                </a:solidFill>
              </a:rPr>
              <a:t>text color</a:t>
            </a:r>
          </a:p>
        </p:txBody>
      </p:sp>
      <p:sp>
        <p:nvSpPr>
          <p:cNvPr id="75" name="TextBox 15"/>
          <p:cNvSpPr txBox="1">
            <a:spLocks noChangeArrowheads="1"/>
          </p:cNvSpPr>
          <p:nvPr userDrawn="1"/>
        </p:nvSpPr>
        <p:spPr bwMode="auto">
          <a:xfrm>
            <a:off x="2519691" y="2952230"/>
            <a:ext cx="2522866" cy="338556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wrap="square" lIns="91440" tIns="45721" rIns="91440" bIns="45721">
            <a:spAutoFit/>
          </a:bodyPr>
          <a:lstStyle/>
          <a:p>
            <a:pPr algn="ctr"/>
            <a:r>
              <a:rPr lang="en-US" sz="1600">
                <a:solidFill>
                  <a:schemeClr val="bg1"/>
                </a:solidFill>
              </a:rPr>
              <a:t>R19  G64  B148</a:t>
            </a:r>
          </a:p>
        </p:txBody>
      </p:sp>
      <p:sp>
        <p:nvSpPr>
          <p:cNvPr id="101" name="TextBox 15"/>
          <p:cNvSpPr txBox="1">
            <a:spLocks noChangeArrowheads="1"/>
          </p:cNvSpPr>
          <p:nvPr userDrawn="1"/>
        </p:nvSpPr>
        <p:spPr bwMode="auto">
          <a:xfrm>
            <a:off x="8075077" y="2954214"/>
            <a:ext cx="2522866" cy="338556"/>
          </a:xfrm>
          <a:prstGeom prst="rect">
            <a:avLst/>
          </a:prstGeom>
          <a:solidFill>
            <a:schemeClr val="accent3"/>
          </a:solidFill>
          <a:ln w="9525">
            <a:noFill/>
            <a:miter lim="800000"/>
            <a:headEnd/>
            <a:tailEnd/>
          </a:ln>
        </p:spPr>
        <p:txBody>
          <a:bodyPr wrap="square" lIns="91440" tIns="45721" rIns="91440" bIns="45721">
            <a:spAutoFit/>
          </a:bodyPr>
          <a:lstStyle/>
          <a:p>
            <a:pPr algn="ctr"/>
            <a:r>
              <a:rPr lang="en-US" sz="1600">
                <a:solidFill>
                  <a:schemeClr val="bg1"/>
                </a:solidFill>
              </a:rPr>
              <a:t>R227  G0  B15</a:t>
            </a:r>
          </a:p>
        </p:txBody>
      </p:sp>
      <p:sp>
        <p:nvSpPr>
          <p:cNvPr id="102" name="TextBox 15"/>
          <p:cNvSpPr txBox="1">
            <a:spLocks noChangeArrowheads="1"/>
          </p:cNvSpPr>
          <p:nvPr userDrawn="1"/>
        </p:nvSpPr>
        <p:spPr bwMode="auto">
          <a:xfrm>
            <a:off x="5310881" y="2954214"/>
            <a:ext cx="2522866" cy="338556"/>
          </a:xfrm>
          <a:prstGeom prst="rect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91440" tIns="45721" rIns="91440" bIns="45721">
            <a:spAutoFit/>
          </a:bodyPr>
          <a:lstStyle/>
          <a:p>
            <a:pPr algn="ctr"/>
            <a:r>
              <a:rPr lang="en-US" sz="1600">
                <a:solidFill>
                  <a:schemeClr val="bg1"/>
                </a:solidFill>
              </a:rPr>
              <a:t>R248  G173  B76</a:t>
            </a:r>
          </a:p>
        </p:txBody>
      </p:sp>
      <p:sp>
        <p:nvSpPr>
          <p:cNvPr id="103" name="TextBox 15"/>
          <p:cNvSpPr txBox="1">
            <a:spLocks noChangeArrowheads="1"/>
          </p:cNvSpPr>
          <p:nvPr userDrawn="1"/>
        </p:nvSpPr>
        <p:spPr bwMode="auto">
          <a:xfrm>
            <a:off x="2519691" y="4163321"/>
            <a:ext cx="2522866" cy="338556"/>
          </a:xfrm>
          <a:prstGeom prst="rect">
            <a:avLst/>
          </a:prstGeom>
          <a:solidFill>
            <a:schemeClr val="accent5"/>
          </a:solidFill>
          <a:ln w="9525">
            <a:noFill/>
            <a:miter lim="800000"/>
            <a:headEnd/>
            <a:tailEnd/>
          </a:ln>
        </p:spPr>
        <p:txBody>
          <a:bodyPr wrap="square" lIns="91440" tIns="45721" rIns="91440" bIns="45721">
            <a:spAutoFit/>
          </a:bodyPr>
          <a:lstStyle/>
          <a:p>
            <a:pPr algn="ctr"/>
            <a:r>
              <a:rPr lang="en-US" sz="1600">
                <a:solidFill>
                  <a:schemeClr val="bg1"/>
                </a:solidFill>
              </a:rPr>
              <a:t>R111  G111  B111</a:t>
            </a:r>
          </a:p>
        </p:txBody>
      </p:sp>
      <p:grpSp>
        <p:nvGrpSpPr>
          <p:cNvPr id="4" name="Gruppierung 3"/>
          <p:cNvGrpSpPr/>
          <p:nvPr userDrawn="1"/>
        </p:nvGrpSpPr>
        <p:grpSpPr>
          <a:xfrm>
            <a:off x="2519691" y="5373427"/>
            <a:ext cx="5296590" cy="338554"/>
            <a:chOff x="2519362" y="5343783"/>
            <a:chExt cx="5295901" cy="338553"/>
          </a:xfrm>
        </p:grpSpPr>
        <p:sp>
          <p:nvSpPr>
            <p:cNvPr id="104" name="TextBox 15"/>
            <p:cNvSpPr txBox="1">
              <a:spLocks noChangeArrowheads="1"/>
            </p:cNvSpPr>
            <p:nvPr userDrawn="1"/>
          </p:nvSpPr>
          <p:spPr bwMode="auto">
            <a:xfrm>
              <a:off x="2519362" y="5343783"/>
              <a:ext cx="2522536" cy="338553"/>
            </a:xfrm>
            <a:prstGeom prst="rect">
              <a:avLst/>
            </a:prstGeom>
            <a:solidFill>
              <a:schemeClr val="tx2"/>
            </a:solidFill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1600">
                  <a:solidFill>
                    <a:schemeClr val="bg1"/>
                  </a:solidFill>
                </a:rPr>
                <a:t>R0  G0  B0</a:t>
              </a:r>
            </a:p>
          </p:txBody>
        </p:sp>
        <p:sp>
          <p:nvSpPr>
            <p:cNvPr id="106" name="TextBox 15"/>
            <p:cNvSpPr txBox="1">
              <a:spLocks noChangeArrowheads="1"/>
            </p:cNvSpPr>
            <p:nvPr userDrawn="1"/>
          </p:nvSpPr>
          <p:spPr bwMode="auto">
            <a:xfrm>
              <a:off x="5292727" y="5343783"/>
              <a:ext cx="2522536" cy="338553"/>
            </a:xfrm>
            <a:prstGeom prst="rect">
              <a:avLst/>
            </a:prstGeom>
            <a:solidFill>
              <a:schemeClr val="accent5"/>
            </a:solidFill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1600">
                  <a:solidFill>
                    <a:schemeClr val="bg1"/>
                  </a:solidFill>
                </a:rPr>
                <a:t>R111  G111  B111</a:t>
              </a:r>
            </a:p>
          </p:txBody>
        </p:sp>
      </p:grpSp>
      <p:cxnSp>
        <p:nvCxnSpPr>
          <p:cNvPr id="107" name="Straight Connector 69"/>
          <p:cNvCxnSpPr/>
          <p:nvPr userDrawn="1"/>
        </p:nvCxnSpPr>
        <p:spPr bwMode="auto">
          <a:xfrm>
            <a:off x="7945798" y="1684339"/>
            <a:ext cx="0" cy="4495800"/>
          </a:xfrm>
          <a:prstGeom prst="line">
            <a:avLst/>
          </a:prstGeom>
          <a:ln w="12700" cmpd="sng">
            <a:solidFill>
              <a:srgbClr val="4D4D4F"/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8" name="Straight Connector 69"/>
          <p:cNvCxnSpPr/>
          <p:nvPr userDrawn="1"/>
        </p:nvCxnSpPr>
        <p:spPr bwMode="auto">
          <a:xfrm>
            <a:off x="2385727" y="1684339"/>
            <a:ext cx="0" cy="4495800"/>
          </a:xfrm>
          <a:prstGeom prst="line">
            <a:avLst/>
          </a:prstGeom>
          <a:ln w="12700" cmpd="sng">
            <a:solidFill>
              <a:srgbClr val="4D4D4F"/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9" name="Rectangle 77"/>
          <p:cNvSpPr/>
          <p:nvPr userDrawn="1"/>
        </p:nvSpPr>
        <p:spPr bwMode="auto">
          <a:xfrm>
            <a:off x="670011" y="3691548"/>
            <a:ext cx="10180377" cy="72000"/>
          </a:xfrm>
          <a:prstGeom prst="rect">
            <a:avLst/>
          </a:prstGeom>
          <a:solidFill>
            <a:srgbClr val="E8EBE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1" rIns="91440" bIns="45721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>
              <a:solidFill>
                <a:srgbClr val="E8EBED"/>
              </a:solidFill>
            </a:endParaRPr>
          </a:p>
        </p:txBody>
      </p:sp>
      <p:sp>
        <p:nvSpPr>
          <p:cNvPr id="111" name="Rectangle 77"/>
          <p:cNvSpPr/>
          <p:nvPr userDrawn="1"/>
        </p:nvSpPr>
        <p:spPr bwMode="auto">
          <a:xfrm>
            <a:off x="670011" y="2481451"/>
            <a:ext cx="10180377" cy="72000"/>
          </a:xfrm>
          <a:prstGeom prst="rect">
            <a:avLst/>
          </a:prstGeom>
          <a:solidFill>
            <a:srgbClr val="E8EBE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1" rIns="91440" bIns="45721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>
              <a:solidFill>
                <a:srgbClr val="E8EBED"/>
              </a:solidFill>
            </a:endParaRPr>
          </a:p>
        </p:txBody>
      </p:sp>
      <p:sp>
        <p:nvSpPr>
          <p:cNvPr id="112" name="Rectangle 77"/>
          <p:cNvSpPr/>
          <p:nvPr userDrawn="1"/>
        </p:nvSpPr>
        <p:spPr bwMode="auto">
          <a:xfrm>
            <a:off x="670011" y="6111743"/>
            <a:ext cx="10180377" cy="72000"/>
          </a:xfrm>
          <a:prstGeom prst="rect">
            <a:avLst/>
          </a:prstGeom>
          <a:solidFill>
            <a:srgbClr val="E8EBE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1" rIns="91440" bIns="45721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>
              <a:solidFill>
                <a:srgbClr val="E8EBE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903826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Arial </a:t>
            </a:r>
            <a:r>
              <a:rPr lang="de-DE" err="1"/>
              <a:t>bold</a:t>
            </a:r>
            <a:r>
              <a:rPr lang="de-DE"/>
              <a:t> 26 </a:t>
            </a:r>
            <a:r>
              <a:rPr lang="de-DE" err="1"/>
              <a:t>pt</a:t>
            </a:r>
            <a:r>
              <a:rPr lang="de-DE"/>
              <a:t>, 70% Grey</a:t>
            </a:r>
          </a:p>
        </p:txBody>
      </p:sp>
      <p:sp>
        <p:nvSpPr>
          <p:cNvPr id="3" name="Textplatzhalter 3"/>
          <p:cNvSpPr>
            <a:spLocks noGrp="1"/>
          </p:cNvSpPr>
          <p:nvPr>
            <p:ph type="body" idx="10" hasCustomPrompt="1"/>
          </p:nvPr>
        </p:nvSpPr>
        <p:spPr>
          <a:xfrm>
            <a:off x="8053238" y="1632794"/>
            <a:ext cx="3467163" cy="344487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2266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Arial </a:t>
            </a:r>
            <a:r>
              <a:rPr lang="de-DE" err="1"/>
              <a:t>regular</a:t>
            </a:r>
            <a:r>
              <a:rPr lang="de-DE"/>
              <a:t> 22 </a:t>
            </a:r>
            <a:r>
              <a:rPr lang="de-DE" err="1"/>
              <a:t>pt</a:t>
            </a:r>
            <a:r>
              <a:rPr lang="de-DE"/>
              <a:t>, </a:t>
            </a:r>
            <a:r>
              <a:rPr lang="de-DE" err="1"/>
              <a:t>black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idx="11" hasCustomPrompt="1"/>
          </p:nvPr>
        </p:nvSpPr>
        <p:spPr>
          <a:xfrm>
            <a:off x="8053238" y="2274487"/>
            <a:ext cx="3467163" cy="3915619"/>
          </a:xfrm>
          <a:prstGeom prst="rect">
            <a:avLst/>
          </a:prstGeom>
        </p:spPr>
        <p:txBody>
          <a:bodyPr vert="horz" lIns="0" tIns="0" rIns="0" bIns="0"/>
          <a:lstStyle>
            <a:lvl1pPr marL="342911" indent="-342911">
              <a:buClr>
                <a:schemeClr val="accent5"/>
              </a:buClr>
              <a:buSzPct val="100000"/>
              <a:buFont typeface="+mj-lt"/>
              <a:buAutoNum type="arabicPeriod"/>
              <a:defRPr sz="1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Arial </a:t>
            </a:r>
            <a:r>
              <a:rPr lang="de-DE" err="1"/>
              <a:t>regular</a:t>
            </a:r>
            <a:r>
              <a:rPr lang="de-DE"/>
              <a:t> 16 </a:t>
            </a:r>
            <a:r>
              <a:rPr lang="de-DE" err="1"/>
              <a:t>pt</a:t>
            </a:r>
            <a:r>
              <a:rPr lang="de-DE"/>
              <a:t>, </a:t>
            </a:r>
            <a:r>
              <a:rPr lang="de-DE" err="1"/>
              <a:t>black</a:t>
            </a:r>
            <a:endParaRPr lang="de-DE"/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F5DD2625-1A52-4C5D-805E-9AC812C32D45}"/>
              </a:ext>
            </a:extLst>
          </p:cNvPr>
          <p:cNvSpPr txBox="1">
            <a:spLocks/>
          </p:cNvSpPr>
          <p:nvPr userDrawn="1"/>
        </p:nvSpPr>
        <p:spPr bwMode="auto">
          <a:xfrm>
            <a:off x="2519692" y="6191557"/>
            <a:ext cx="7070058" cy="666443"/>
          </a:xfrm>
          <a:prstGeom prst="rect">
            <a:avLst/>
          </a:prstGeom>
          <a:noFill/>
        </p:spPr>
        <p:txBody>
          <a:bodyPr lIns="0" tIns="0" rIns="0" bIns="0" anchor="ctr" anchorCtr="0"/>
          <a:lstStyle>
            <a:lvl1pPr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l" eaLnBrk="1" hangingPunct="1">
              <a:defRPr/>
            </a:pPr>
            <a:r>
              <a:rPr lang="de-DE" altLang="de-DE" sz="1067">
                <a:solidFill>
                  <a:schemeClr val="accent5"/>
                </a:solidFill>
                <a:latin typeface="Arial" panose="020B0604020202020204" pitchFamily="34" charset="0"/>
              </a:rPr>
              <a:t>Arial </a:t>
            </a:r>
            <a:r>
              <a:rPr lang="de-DE" altLang="de-DE" sz="1067" err="1">
                <a:solidFill>
                  <a:schemeClr val="accent5"/>
                </a:solidFill>
                <a:latin typeface="Arial" panose="020B0604020202020204" pitchFamily="34" charset="0"/>
              </a:rPr>
              <a:t>regular</a:t>
            </a:r>
            <a:r>
              <a:rPr lang="de-DE" altLang="de-DE" sz="1067" baseline="0">
                <a:solidFill>
                  <a:schemeClr val="accent5"/>
                </a:solidFill>
                <a:latin typeface="Arial" panose="020B0604020202020204" pitchFamily="34" charset="0"/>
              </a:rPr>
              <a:t> </a:t>
            </a:r>
            <a:r>
              <a:rPr lang="de-DE" altLang="de-DE" sz="1067">
                <a:solidFill>
                  <a:schemeClr val="accent5"/>
                </a:solidFill>
                <a:latin typeface="Arial" panose="020B0604020202020204" pitchFamily="34" charset="0"/>
              </a:rPr>
              <a:t>11 </a:t>
            </a:r>
            <a:r>
              <a:rPr lang="de-DE" altLang="de-DE" sz="1067" err="1">
                <a:solidFill>
                  <a:schemeClr val="accent5"/>
                </a:solidFill>
                <a:latin typeface="Arial" panose="020B0604020202020204" pitchFamily="34" charset="0"/>
              </a:rPr>
              <a:t>pt</a:t>
            </a:r>
            <a:r>
              <a:rPr lang="de-DE" altLang="de-DE" sz="1067">
                <a:solidFill>
                  <a:schemeClr val="accent5"/>
                </a:solidFill>
                <a:latin typeface="Arial" panose="020B0604020202020204" pitchFamily="34" charset="0"/>
              </a:rPr>
              <a:t>, 70% Grey</a:t>
            </a:r>
          </a:p>
        </p:txBody>
      </p:sp>
    </p:spTree>
    <p:extLst>
      <p:ext uri="{BB962C8B-B14F-4D97-AF65-F5344CB8AC3E}">
        <p14:creationId xmlns:p14="http://schemas.microsoft.com/office/powerpoint/2010/main" val="53269517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_TITEL &amp;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Inhalt 1">
            <a:extLst>
              <a:ext uri="{FF2B5EF4-FFF2-40B4-BE49-F238E27FC236}">
                <a16:creationId xmlns:a16="http://schemas.microsoft.com/office/drawing/2014/main" id="{ABE3C2FF-24B5-41C9-BE15-E7731BA4E93F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540000" y="1512000"/>
            <a:ext cx="3520825" cy="4553928"/>
          </a:xfrm>
        </p:spPr>
        <p:txBody>
          <a:bodyPr vert="horz" lIns="0" tIns="0" rIns="0" bIns="0" rtlCol="0">
            <a:noAutofit/>
          </a:bodyPr>
          <a:lstStyle>
            <a:lvl1pPr>
              <a:defRPr lang="de-DE" noProof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lang="de-DE" noProof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lang="de-DE" noProof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lang="de-DE" noProof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lang="de-DE" noProof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21" name="Inhalt 2">
            <a:extLst>
              <a:ext uri="{FF2B5EF4-FFF2-40B4-BE49-F238E27FC236}">
                <a16:creationId xmlns:a16="http://schemas.microsoft.com/office/drawing/2014/main" id="{CE1F291D-9D37-4930-A464-37BD1E114E6B}"/>
              </a:ext>
            </a:extLst>
          </p:cNvPr>
          <p:cNvSpPr>
            <a:spLocks noGrp="1"/>
          </p:cNvSpPr>
          <p:nvPr>
            <p:ph idx="14"/>
          </p:nvPr>
        </p:nvSpPr>
        <p:spPr bwMode="gray">
          <a:xfrm>
            <a:off x="4334794" y="1512000"/>
            <a:ext cx="3520825" cy="4553928"/>
          </a:xfrm>
        </p:spPr>
        <p:txBody>
          <a:bodyPr vert="horz" lIns="0" tIns="0" rIns="0" bIns="0" rtlCol="0">
            <a:noAutofit/>
          </a:bodyPr>
          <a:lstStyle>
            <a:lvl1pPr>
              <a:defRPr lang="de-DE" noProof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lang="de-DE" noProof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lang="de-DE" noProof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lang="de-DE" noProof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lang="de-DE" noProof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22" name="Inhalt 3">
            <a:extLst>
              <a:ext uri="{FF2B5EF4-FFF2-40B4-BE49-F238E27FC236}">
                <a16:creationId xmlns:a16="http://schemas.microsoft.com/office/drawing/2014/main" id="{D1E79B91-E676-4B3B-B5BC-254F50062A62}"/>
              </a:ext>
            </a:extLst>
          </p:cNvPr>
          <p:cNvSpPr>
            <a:spLocks noGrp="1"/>
          </p:cNvSpPr>
          <p:nvPr>
            <p:ph idx="15"/>
          </p:nvPr>
        </p:nvSpPr>
        <p:spPr bwMode="gray">
          <a:xfrm>
            <a:off x="8128775" y="1512000"/>
            <a:ext cx="3520825" cy="4553928"/>
          </a:xfrm>
        </p:spPr>
        <p:txBody>
          <a:bodyPr vert="horz" lIns="0" tIns="0" rIns="0" bIns="0" rtlCol="0">
            <a:noAutofit/>
          </a:bodyPr>
          <a:lstStyle>
            <a:lvl1pPr>
              <a:defRPr lang="de-DE" noProof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lang="de-DE" noProof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lang="de-DE" noProof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lang="de-DE" noProof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lang="de-DE" noProof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96" name="Titel">
            <a:extLst>
              <a:ext uri="{FF2B5EF4-FFF2-40B4-BE49-F238E27FC236}">
                <a16:creationId xmlns:a16="http://schemas.microsoft.com/office/drawing/2014/main" id="{31958E4D-2EE4-4B39-916C-1664FFAFB492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40000" y="432000"/>
            <a:ext cx="11109600" cy="900000"/>
          </a:xfrm>
        </p:spPr>
        <p:txBody>
          <a:bodyPr/>
          <a:lstStyle>
            <a:lvl1pPr>
              <a:defRPr cap="none" baseline="0"/>
            </a:lvl1pPr>
          </a:lstStyle>
          <a:p>
            <a:r>
              <a:rPr lang="de-DE" noProof="0"/>
              <a:t>Titelmasterformat durch Klicken bearbeiten</a:t>
            </a:r>
          </a:p>
        </p:txBody>
      </p:sp>
      <p:sp>
        <p:nvSpPr>
          <p:cNvPr id="97" name="Untertitel">
            <a:extLst>
              <a:ext uri="{FF2B5EF4-FFF2-40B4-BE49-F238E27FC236}">
                <a16:creationId xmlns:a16="http://schemas.microsoft.com/office/drawing/2014/main" id="{D3E43702-891F-4ADF-A3D0-4D2E6579696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40000" y="900000"/>
            <a:ext cx="11109600" cy="432000"/>
          </a:xfrm>
        </p:spPr>
        <p:txBody>
          <a:bodyPr/>
          <a:lstStyle>
            <a:lvl1pPr marL="0" indent="0">
              <a:buNone/>
              <a:defRPr sz="1800" b="1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e-DE" noProof="0"/>
              <a:t>Geben Sie Ihren Untertitel ein</a:t>
            </a:r>
          </a:p>
        </p:txBody>
      </p:sp>
      <p:cxnSp>
        <p:nvCxnSpPr>
          <p:cNvPr id="256" name="Gerader Verbinder 255">
            <a:extLst>
              <a:ext uri="{FF2B5EF4-FFF2-40B4-BE49-F238E27FC236}">
                <a16:creationId xmlns:a16="http://schemas.microsoft.com/office/drawing/2014/main" id="{32261274-5C91-4AB9-A131-75CD9F61D236}"/>
              </a:ext>
            </a:extLst>
          </p:cNvPr>
          <p:cNvCxnSpPr/>
          <p:nvPr userDrawn="1"/>
        </p:nvCxnSpPr>
        <p:spPr bwMode="gray">
          <a:xfrm>
            <a:off x="1080000" y="6354000"/>
            <a:ext cx="0" cy="216000"/>
          </a:xfrm>
          <a:prstGeom prst="line">
            <a:avLst/>
          </a:prstGeom>
          <a:ln w="12700" cap="flat">
            <a:solidFill>
              <a:schemeClr val="accent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7" name="Foliennummernplatzhalter">
            <a:extLst>
              <a:ext uri="{FF2B5EF4-FFF2-40B4-BE49-F238E27FC236}">
                <a16:creationId xmlns:a16="http://schemas.microsoft.com/office/drawing/2014/main" id="{106D1986-FD83-4490-8687-1823B07EC52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40000" y="6318000"/>
            <a:ext cx="360000" cy="288000"/>
          </a:xfrm>
          <a:prstGeom prst="rect">
            <a:avLst/>
          </a:prstGeom>
          <a:ln w="12700" cap="sq">
            <a:noFill/>
            <a:miter lim="800000"/>
          </a:ln>
        </p:spPr>
        <p:txBody>
          <a:bodyPr vert="horz" lIns="0" tIns="0" rIns="0" bIns="0" rtlCol="0" anchor="ctr" anchorCtr="0"/>
          <a:lstStyle>
            <a:lvl1pPr>
              <a:defRPr lang="de-DE" sz="1600" smtClean="0">
                <a:solidFill>
                  <a:schemeClr val="accent1"/>
                </a:solidFill>
              </a:defRPr>
            </a:lvl1pPr>
          </a:lstStyle>
          <a:p>
            <a:fld id="{B36614E7-DD24-4A03-99F5-3A9F8BBCCC0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58" name="Fußzeile">
            <a:extLst>
              <a:ext uri="{FF2B5EF4-FFF2-40B4-BE49-F238E27FC236}">
                <a16:creationId xmlns:a16="http://schemas.microsoft.com/office/drawing/2014/main" id="{1EA2CF85-F566-442E-A305-88E9E32A168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1260000" y="6318000"/>
            <a:ext cx="4832138" cy="288000"/>
          </a:xfrm>
          <a:prstGeom prst="rect">
            <a:avLst/>
          </a:prstGeom>
        </p:spPr>
        <p:txBody>
          <a:bodyPr vert="horz" lIns="108000" tIns="0" rIns="0" bIns="0" rtlCol="0" anchor="ctr" anchorCtr="0"/>
          <a:lstStyle>
            <a:lvl1pPr algn="l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e-DE"/>
              <a:t>© Fraunhofer IEM / Heinz Nixdorf Institut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149" b="23187"/>
          <a:stretch/>
        </p:blipFill>
        <p:spPr>
          <a:xfrm>
            <a:off x="7121745" y="6275232"/>
            <a:ext cx="894495" cy="3952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27348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wk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517558" y="651516"/>
            <a:ext cx="9002844" cy="66198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0" name="Fußzeilenplatzhalter 2"/>
          <p:cNvSpPr>
            <a:spLocks noGrp="1"/>
          </p:cNvSpPr>
          <p:nvPr>
            <p:ph type="ftr" sz="quarter" idx="3"/>
          </p:nvPr>
        </p:nvSpPr>
        <p:spPr>
          <a:xfrm>
            <a:off x="4122537" y="6192000"/>
            <a:ext cx="7380962" cy="66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6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Ringvorlesung – Digitale Transformation bei Schmitz Cargobull</a:t>
            </a:r>
          </a:p>
        </p:txBody>
      </p:sp>
      <p:sp>
        <p:nvSpPr>
          <p:cNvPr id="11" name="Datumsplatzhalter 4"/>
          <p:cNvSpPr>
            <a:spLocks noGrp="1"/>
          </p:cNvSpPr>
          <p:nvPr>
            <p:ph type="dt" sz="half" idx="2"/>
          </p:nvPr>
        </p:nvSpPr>
        <p:spPr>
          <a:xfrm>
            <a:off x="2520328" y="6191559"/>
            <a:ext cx="1602209" cy="66644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6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17.01.2019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5A780392-A7FA-4B2D-9206-41925A40CE1C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70897" y="1625601"/>
            <a:ext cx="10848621" cy="4464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Clr>
                <a:schemeClr val="accent5"/>
              </a:buClr>
              <a:buSzPct val="100000"/>
              <a:buFont typeface="Arial" panose="020B0604020202020204" pitchFamily="34" charset="0"/>
              <a:buNone/>
              <a:defRPr sz="2133"/>
            </a:lvl1pPr>
            <a:lvl2pPr marL="287971" indent="-289955">
              <a:buClr>
                <a:schemeClr val="accent5"/>
              </a:buClr>
              <a:buSzPct val="100000"/>
              <a:buFont typeface="Arial" panose="020B0604020202020204" pitchFamily="34" charset="0"/>
              <a:buChar char="•"/>
              <a:defRPr sz="1866"/>
            </a:lvl2pPr>
            <a:lvl3pPr marL="527947" indent="-239976">
              <a:buClr>
                <a:schemeClr val="accent5"/>
              </a:buClr>
              <a:buSzPct val="100000"/>
              <a:buFont typeface="Arial" panose="020B0604020202020204" pitchFamily="34" charset="0"/>
              <a:buChar char="•"/>
              <a:defRPr lang="de-DE" sz="1600" b="0" i="0" kern="900" spc="0" dirty="0">
                <a:solidFill>
                  <a:schemeClr val="accent5"/>
                </a:solidFill>
                <a:latin typeface="+mn-lt"/>
                <a:ea typeface="+mn-ea"/>
                <a:cs typeface="3ds Light"/>
              </a:defRPr>
            </a:lvl3pPr>
            <a:lvl4pPr marL="527947" indent="-239976">
              <a:defRPr sz="1866">
                <a:solidFill>
                  <a:schemeClr val="accent5"/>
                </a:solidFill>
              </a:defRPr>
            </a:lvl4pPr>
            <a:lvl5pPr marL="527947" indent="-239976">
              <a:defRPr sz="1866">
                <a:solidFill>
                  <a:schemeClr val="accent5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marL="527947" marR="0" lvl="2" indent="-239976" algn="l" defTabSz="1172037" rtl="0" eaLnBrk="1" fontAlgn="auto" latinLnBrk="0" hangingPunct="1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accent5"/>
              </a:buClr>
              <a:buSzPct val="100000"/>
              <a:buFont typeface="Arial" panose="020B0604020202020204" pitchFamily="34" charset="0"/>
              <a:buChar char="•"/>
              <a:tabLst/>
            </a:pPr>
            <a:r>
              <a:rPr lang="de-DE"/>
              <a:t>Vierte Ebene</a:t>
            </a:r>
          </a:p>
          <a:p>
            <a:pPr marL="527947" marR="0" lvl="2" indent="-239976" algn="l" defTabSz="1172037" rtl="0" eaLnBrk="1" fontAlgn="auto" latinLnBrk="0" hangingPunct="1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accent5"/>
              </a:buClr>
              <a:buSzPct val="100000"/>
              <a:buFont typeface="Arial" panose="020B0604020202020204" pitchFamily="34" charset="0"/>
              <a:buChar char="•"/>
              <a:tabLst/>
            </a:pPr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90650545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wk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517558" y="651516"/>
            <a:ext cx="9002844" cy="66198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0" name="Fußzeilenplatzhalter 2"/>
          <p:cNvSpPr>
            <a:spLocks noGrp="1"/>
          </p:cNvSpPr>
          <p:nvPr>
            <p:ph type="ftr" sz="quarter" idx="3"/>
          </p:nvPr>
        </p:nvSpPr>
        <p:spPr>
          <a:xfrm>
            <a:off x="4122537" y="6192000"/>
            <a:ext cx="7380962" cy="66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6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Ringvorlesung – Digitale Transformation bei Schmitz Cargobull</a:t>
            </a:r>
          </a:p>
        </p:txBody>
      </p:sp>
      <p:sp>
        <p:nvSpPr>
          <p:cNvPr id="11" name="Datumsplatzhalter 4"/>
          <p:cNvSpPr>
            <a:spLocks noGrp="1"/>
          </p:cNvSpPr>
          <p:nvPr>
            <p:ph type="dt" sz="half" idx="2"/>
          </p:nvPr>
        </p:nvSpPr>
        <p:spPr>
          <a:xfrm>
            <a:off x="2520328" y="6191559"/>
            <a:ext cx="1602209" cy="66644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6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17.01.2019</a:t>
            </a:r>
          </a:p>
        </p:txBody>
      </p:sp>
    </p:spTree>
    <p:extLst>
      <p:ext uri="{BB962C8B-B14F-4D97-AF65-F5344CB8AC3E}">
        <p14:creationId xmlns:p14="http://schemas.microsoft.com/office/powerpoint/2010/main" val="143342183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3" name="think-cell Slide" r:id="rId5" imgW="501" imgH="502" progId="TCLayout.ActiveDocument.1">
                  <p:embed/>
                </p:oleObj>
              </mc:Choice>
              <mc:Fallback>
                <p:oleObj name="think-cell Slide" r:id="rId5" imgW="501" imgH="502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58730" cy="158751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2666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517558" y="651517"/>
            <a:ext cx="9002844" cy="661987"/>
          </a:xfrm>
        </p:spPr>
        <p:txBody>
          <a:bodyPr/>
          <a:lstStyle/>
          <a:p>
            <a:r>
              <a:rPr lang="de-DE"/>
              <a:t>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987382" y="6319839"/>
            <a:ext cx="9528433" cy="497379"/>
          </a:xfrm>
          <a:prstGeom prst="rect">
            <a:avLst/>
          </a:prstGeom>
        </p:spPr>
        <p:txBody>
          <a:bodyPr/>
          <a:lstStyle>
            <a:lvl1pPr marL="0" indent="0" algn="l" defTabSz="1172008" rtl="0" eaLnBrk="1" latinLnBrk="0" hangingPunct="1">
              <a:buNone/>
              <a:defRPr lang="en-US" sz="10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Comments </a:t>
            </a:r>
            <a:r>
              <a:rPr lang="de-DE" err="1"/>
              <a:t>and</a:t>
            </a:r>
            <a:r>
              <a:rPr lang="de-DE"/>
              <a:t> </a:t>
            </a:r>
            <a:r>
              <a:rPr lang="de-DE" err="1"/>
              <a:t>Sources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9239460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67" name="think-cell Slide" r:id="rId5" imgW="359" imgH="358" progId="TCLayout.ActiveDocument.1">
                  <p:embed/>
                </p:oleObj>
              </mc:Choice>
              <mc:Fallback>
                <p:oleObj name="think-cell Slide" r:id="rId5" imgW="359" imgH="358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3"/>
            </p:custDataLst>
          </p:nvPr>
        </p:nvSpPr>
        <p:spPr>
          <a:xfrm>
            <a:off x="2" y="1"/>
            <a:ext cx="158770" cy="158751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6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498505" y="543567"/>
            <a:ext cx="9002844" cy="661987"/>
          </a:xfrm>
          <a:prstGeom prst="rect">
            <a:avLst/>
          </a:prstGeo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3"/>
          <p:cNvSpPr>
            <a:spLocks noGrp="1"/>
          </p:cNvSpPr>
          <p:nvPr>
            <p:ph type="body" idx="10"/>
          </p:nvPr>
        </p:nvSpPr>
        <p:spPr>
          <a:xfrm>
            <a:off x="660486" y="1634178"/>
            <a:ext cx="10859914" cy="344487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22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Mastertextformat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idx="11" hasCustomPrompt="1"/>
          </p:nvPr>
        </p:nvSpPr>
        <p:spPr>
          <a:xfrm>
            <a:off x="8997535" y="2258109"/>
            <a:ext cx="2522866" cy="3915619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Clr>
                <a:schemeClr val="accent5"/>
              </a:buClr>
              <a:buSzPct val="100000"/>
              <a:buFontTx/>
              <a:buNone/>
              <a:defRPr sz="1600">
                <a:solidFill>
                  <a:schemeClr val="accent5"/>
                </a:solidFill>
              </a:defRPr>
            </a:lvl1pPr>
          </a:lstStyle>
          <a:p>
            <a:pPr lvl="0"/>
            <a:r>
              <a:rPr lang="de-DE"/>
              <a:t>Anmerkung</a:t>
            </a:r>
          </a:p>
          <a:p>
            <a:pPr lvl="0"/>
            <a:endParaRPr lang="de-DE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2"/>
          </p:nvPr>
        </p:nvSpPr>
        <p:spPr>
          <a:xfrm>
            <a:off x="660488" y="2257427"/>
            <a:ext cx="8243374" cy="3916363"/>
          </a:xfrm>
          <a:prstGeom prst="rect">
            <a:avLst/>
          </a:prstGeom>
        </p:spPr>
        <p:txBody>
          <a:bodyPr vert="horz" lIns="0" tIns="0" rIns="0" bIns="0"/>
          <a:lstStyle>
            <a:lvl1pPr marL="285722" indent="-285722">
              <a:buClr>
                <a:schemeClr val="accent5"/>
              </a:buClr>
              <a:buSzPct val="100000"/>
              <a:buFont typeface="Lucida Grande"/>
              <a:buChar char="⎯"/>
              <a:defRPr sz="1600"/>
            </a:lvl1pPr>
            <a:lvl2pPr marL="0" indent="0">
              <a:buFontTx/>
              <a:buNone/>
              <a:defRPr sz="1600"/>
            </a:lvl2pPr>
            <a:lvl3pPr marL="0" indent="0">
              <a:buFontTx/>
              <a:buNone/>
              <a:defRPr sz="1600"/>
            </a:lvl3pPr>
            <a:lvl4pPr marL="0" indent="0">
              <a:buFontTx/>
              <a:buNone/>
              <a:defRPr sz="1600"/>
            </a:lvl4pPr>
            <a:lvl5pPr marL="0" indent="0">
              <a:buFontTx/>
              <a:buNone/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29582431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7"/>
          <p:cNvSpPr>
            <a:spLocks noChangeShapeType="1"/>
          </p:cNvSpPr>
          <p:nvPr userDrawn="1"/>
        </p:nvSpPr>
        <p:spPr bwMode="auto">
          <a:xfrm flipV="1">
            <a:off x="575925" y="404580"/>
            <a:ext cx="11036225" cy="0"/>
          </a:xfrm>
          <a:prstGeom prst="line">
            <a:avLst/>
          </a:prstGeom>
          <a:noFill/>
          <a:ln w="5080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800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78263" y="1773238"/>
            <a:ext cx="11021384" cy="647622"/>
          </a:xfrm>
        </p:spPr>
        <p:txBody>
          <a:bodyPr/>
          <a:lstStyle>
            <a:lvl1pPr marL="0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noProof="0"/>
              <a:t>Formatvorlage des Untertitelmasters durch Klicken bearbeiten</a:t>
            </a:r>
          </a:p>
        </p:txBody>
      </p:sp>
      <p:sp>
        <p:nvSpPr>
          <p:cNvPr id="5" name="Bildplatzhalter 2"/>
          <p:cNvSpPr>
            <a:spLocks noGrp="1"/>
          </p:cNvSpPr>
          <p:nvPr>
            <p:ph type="pic" sz="quarter" idx="10"/>
          </p:nvPr>
        </p:nvSpPr>
        <p:spPr>
          <a:xfrm>
            <a:off x="578263" y="2636890"/>
            <a:ext cx="11021384" cy="3384470"/>
          </a:xfr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78263" y="476823"/>
            <a:ext cx="11021384" cy="1008140"/>
          </a:xfrm>
          <a:noFill/>
        </p:spPr>
        <p:txBody>
          <a:bodyPr/>
          <a:lstStyle>
            <a:lvl1pPr marL="0" indent="0">
              <a:defRPr sz="320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noProof="0"/>
              <a:t>Titelmasterformat durch Klicken bearbeiten</a:t>
            </a:r>
          </a:p>
        </p:txBody>
      </p:sp>
      <p:sp>
        <p:nvSpPr>
          <p:cNvPr id="9" name="Line 7"/>
          <p:cNvSpPr>
            <a:spLocks noChangeShapeType="1"/>
          </p:cNvSpPr>
          <p:nvPr userDrawn="1"/>
        </p:nvSpPr>
        <p:spPr bwMode="auto">
          <a:xfrm flipV="1">
            <a:off x="575925" y="2492870"/>
            <a:ext cx="11036225" cy="0"/>
          </a:xfrm>
          <a:prstGeom prst="line">
            <a:avLst/>
          </a:prstGeom>
          <a:noFill/>
          <a:ln w="1270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800"/>
          </a:p>
        </p:txBody>
      </p:sp>
    </p:spTree>
    <p:extLst>
      <p:ext uri="{BB962C8B-B14F-4D97-AF65-F5344CB8AC3E}">
        <p14:creationId xmlns:p14="http://schemas.microsoft.com/office/powerpoint/2010/main" val="308009434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mi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78263" y="476823"/>
            <a:ext cx="11021384" cy="1008140"/>
          </a:xfrm>
          <a:noFill/>
        </p:spPr>
        <p:txBody>
          <a:bodyPr/>
          <a:lstStyle>
            <a:lvl1pPr marL="0" indent="0">
              <a:defRPr sz="320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noProof="0"/>
              <a:t>Titelmasterformat durch Klicken bearbeiten</a:t>
            </a:r>
          </a:p>
        </p:txBody>
      </p:sp>
      <p:sp>
        <p:nvSpPr>
          <p:cNvPr id="10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78263" y="1773238"/>
            <a:ext cx="11021384" cy="647622"/>
          </a:xfrm>
        </p:spPr>
        <p:txBody>
          <a:bodyPr/>
          <a:lstStyle>
            <a:lvl1pPr marL="0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noProof="0"/>
              <a:t>Formatvorlage des Untertitelmasters durch Klicken bearbeiten</a:t>
            </a:r>
          </a:p>
        </p:txBody>
      </p:sp>
      <p:sp>
        <p:nvSpPr>
          <p:cNvPr id="14" name="Line 7"/>
          <p:cNvSpPr>
            <a:spLocks noChangeShapeType="1"/>
          </p:cNvSpPr>
          <p:nvPr userDrawn="1"/>
        </p:nvSpPr>
        <p:spPr bwMode="auto">
          <a:xfrm flipV="1">
            <a:off x="575925" y="404580"/>
            <a:ext cx="11036225" cy="0"/>
          </a:xfrm>
          <a:prstGeom prst="line">
            <a:avLst/>
          </a:prstGeom>
          <a:noFill/>
          <a:ln w="5080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800"/>
          </a:p>
        </p:txBody>
      </p:sp>
      <p:sp>
        <p:nvSpPr>
          <p:cNvPr id="15" name="Line 7"/>
          <p:cNvSpPr>
            <a:spLocks noChangeShapeType="1"/>
          </p:cNvSpPr>
          <p:nvPr userDrawn="1"/>
        </p:nvSpPr>
        <p:spPr bwMode="auto">
          <a:xfrm flipV="1">
            <a:off x="575925" y="2492870"/>
            <a:ext cx="11036225" cy="0"/>
          </a:xfrm>
          <a:prstGeom prst="line">
            <a:avLst/>
          </a:prstGeom>
          <a:noFill/>
          <a:ln w="1270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800"/>
          </a:p>
        </p:txBody>
      </p:sp>
      <p:sp>
        <p:nvSpPr>
          <p:cNvPr id="17" name="Text Box 8"/>
          <p:cNvSpPr txBox="1">
            <a:spLocks noChangeArrowheads="1"/>
          </p:cNvSpPr>
          <p:nvPr userDrawn="1"/>
        </p:nvSpPr>
        <p:spPr bwMode="auto">
          <a:xfrm>
            <a:off x="562634" y="6453421"/>
            <a:ext cx="385583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>
              <a:spcBef>
                <a:spcPts val="0"/>
              </a:spcBef>
              <a:spcAft>
                <a:spcPct val="0"/>
              </a:spcAft>
              <a:buFontTx/>
              <a:buNone/>
            </a:pPr>
            <a:r>
              <a:rPr lang="de-DE" sz="800">
                <a:solidFill>
                  <a:schemeClr val="bg2"/>
                </a:solidFill>
                <a:latin typeface="+mn-lt"/>
              </a:rPr>
              <a:t>© Fraunhofer IEM / Heinz Nixdorf Institut</a:t>
            </a:r>
          </a:p>
          <a:p>
            <a:pPr>
              <a:spcBef>
                <a:spcPts val="0"/>
              </a:spcBef>
              <a:spcAft>
                <a:spcPct val="0"/>
              </a:spcAft>
              <a:buFontTx/>
              <a:buNone/>
            </a:pPr>
            <a:r>
              <a:rPr lang="de-DE" sz="800">
                <a:solidFill>
                  <a:schemeClr val="bg2"/>
                </a:solidFill>
                <a:latin typeface="+mn-lt"/>
              </a:rPr>
              <a:t>Folie </a:t>
            </a:r>
            <a:fld id="{465E0D68-ABFE-4BAD-A58E-05251C14C1FA}" type="slidenum">
              <a:rPr lang="de-DE" sz="800" smtClean="0">
                <a:solidFill>
                  <a:schemeClr val="bg2"/>
                </a:solidFill>
                <a:latin typeface="+mn-lt"/>
              </a:rPr>
              <a:pPr>
                <a:spcBef>
                  <a:spcPts val="0"/>
                </a:spcBef>
                <a:spcAft>
                  <a:spcPct val="0"/>
                </a:spcAft>
                <a:buFontTx/>
                <a:buNone/>
              </a:pPr>
              <a:t>‹#›</a:t>
            </a:fld>
            <a:r>
              <a:rPr lang="de-DE" sz="800">
                <a:solidFill>
                  <a:schemeClr val="bg2"/>
                </a:solidFill>
                <a:latin typeface="+mn-lt"/>
              </a:rPr>
              <a:t> </a:t>
            </a:r>
          </a:p>
        </p:txBody>
      </p:sp>
      <p:sp>
        <p:nvSpPr>
          <p:cNvPr id="18" name="Line 7"/>
          <p:cNvSpPr>
            <a:spLocks noChangeShapeType="1"/>
          </p:cNvSpPr>
          <p:nvPr userDrawn="1"/>
        </p:nvSpPr>
        <p:spPr bwMode="auto">
          <a:xfrm flipV="1">
            <a:off x="575925" y="6165380"/>
            <a:ext cx="11036225" cy="0"/>
          </a:xfrm>
          <a:prstGeom prst="line">
            <a:avLst/>
          </a:prstGeom>
          <a:noFill/>
          <a:ln w="3175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800"/>
          </a:p>
        </p:txBody>
      </p:sp>
      <p:pic>
        <p:nvPicPr>
          <p:cNvPr id="59" name="Grafik 5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23249" y="6300000"/>
            <a:ext cx="1884097" cy="419960"/>
          </a:xfrm>
          <a:prstGeom prst="rect">
            <a:avLst/>
          </a:prstGeom>
        </p:spPr>
      </p:pic>
      <p:pic>
        <p:nvPicPr>
          <p:cNvPr id="60" name="Grafik 5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4490" y="6385933"/>
            <a:ext cx="1949285" cy="248094"/>
          </a:xfrm>
          <a:prstGeom prst="rect">
            <a:avLst/>
          </a:prstGeom>
        </p:spPr>
      </p:pic>
      <p:sp>
        <p:nvSpPr>
          <p:cNvPr id="2" name="Rechteck 1"/>
          <p:cNvSpPr/>
          <p:nvPr userDrawn="1"/>
        </p:nvSpPr>
        <p:spPr>
          <a:xfrm>
            <a:off x="2356063" y="3645025"/>
            <a:ext cx="747828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40385" marR="539115">
              <a:lnSpc>
                <a:spcPct val="120000"/>
              </a:lnSpc>
              <a:spcBef>
                <a:spcPts val="2400"/>
              </a:spcBef>
              <a:spcAft>
                <a:spcPts val="800"/>
              </a:spcAft>
            </a:pPr>
            <a:r>
              <a:rPr lang="de-DE" sz="2000" b="0" i="1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„Die größte Gefahr in turbulenten Zeiten ist nicht die Turbulenz - Es ist das Handeln mit der Logik von gestern.“ </a:t>
            </a:r>
            <a:r>
              <a:rPr lang="de-DE" sz="2000" b="0" i="0" baseline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sz="2000" b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Peter Drucker      </a:t>
            </a:r>
            <a:endParaRPr lang="de-DE" sz="2000">
              <a:latin typeface="+mj-lt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1857534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78263" y="476823"/>
            <a:ext cx="11021384" cy="1007908"/>
          </a:xfrm>
        </p:spPr>
        <p:txBody>
          <a:bodyPr/>
          <a:lstStyle>
            <a:lvl1pPr marL="0" indent="0">
              <a:defRPr sz="3200" cap="all" baseline="0"/>
            </a:lvl1pPr>
          </a:lstStyle>
          <a:p>
            <a:pPr lvl="0"/>
            <a:r>
              <a:rPr lang="de-DE" noProof="0"/>
              <a:t>Titelmasterformat durch Klicken bearbeiten</a:t>
            </a:r>
          </a:p>
        </p:txBody>
      </p:sp>
      <p:sp>
        <p:nvSpPr>
          <p:cNvPr id="6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578264" y="1773238"/>
            <a:ext cx="11037794" cy="4238942"/>
          </a:xfrm>
        </p:spPr>
        <p:txBody>
          <a:bodyPr/>
          <a:lstStyle>
            <a:lvl1pPr marL="360000" indent="-360000">
              <a:buFont typeface="+mj-lt"/>
              <a:buAutoNum type="arabicPeriod"/>
              <a:defRPr/>
            </a:lvl1pPr>
            <a:lvl2pPr marL="720000" indent="-360000">
              <a:buFont typeface="+mj-lt"/>
              <a:buAutoNum type="arabicPeriod"/>
              <a:defRPr/>
            </a:lvl2pPr>
            <a:lvl3pPr marL="1080000">
              <a:buFont typeface="+mj-lt"/>
              <a:buAutoNum type="arabicPeriod"/>
              <a:defRPr/>
            </a:lvl3pPr>
            <a:lvl4pPr marL="1440000">
              <a:buFont typeface="+mj-lt"/>
              <a:buAutoNum type="arabicPeriod"/>
              <a:defRPr/>
            </a:lvl4pPr>
            <a:lvl5pPr marL="1800000" indent="-360000">
              <a:buFont typeface="+mj-lt"/>
              <a:buAutoNum type="arabicPeriod"/>
              <a:defRPr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Line 7"/>
          <p:cNvSpPr>
            <a:spLocks noChangeShapeType="1"/>
          </p:cNvSpPr>
          <p:nvPr userDrawn="1"/>
        </p:nvSpPr>
        <p:spPr bwMode="auto">
          <a:xfrm flipV="1">
            <a:off x="575925" y="404580"/>
            <a:ext cx="11036225" cy="0"/>
          </a:xfrm>
          <a:prstGeom prst="line">
            <a:avLst/>
          </a:prstGeom>
          <a:noFill/>
          <a:ln w="5080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800"/>
          </a:p>
        </p:txBody>
      </p:sp>
      <p:sp>
        <p:nvSpPr>
          <p:cNvPr id="9" name="Line 8"/>
          <p:cNvSpPr>
            <a:spLocks noChangeShapeType="1"/>
          </p:cNvSpPr>
          <p:nvPr userDrawn="1"/>
        </p:nvSpPr>
        <p:spPr bwMode="auto">
          <a:xfrm>
            <a:off x="575925" y="1558800"/>
            <a:ext cx="11035609" cy="0"/>
          </a:xfrm>
          <a:prstGeom prst="line">
            <a:avLst/>
          </a:prstGeom>
          <a:noFill/>
          <a:ln w="1270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800"/>
          </a:p>
        </p:txBody>
      </p:sp>
    </p:spTree>
    <p:extLst>
      <p:ext uri="{BB962C8B-B14F-4D97-AF65-F5344CB8AC3E}">
        <p14:creationId xmlns:p14="http://schemas.microsoft.com/office/powerpoint/2010/main" val="163745020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78263" y="1590683"/>
            <a:ext cx="11012006" cy="4430713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itel 1"/>
          <p:cNvSpPr>
            <a:spLocks noGrp="1"/>
          </p:cNvSpPr>
          <p:nvPr>
            <p:ph type="title"/>
          </p:nvPr>
        </p:nvSpPr>
        <p:spPr>
          <a:xfrm>
            <a:off x="578263" y="334799"/>
            <a:ext cx="11021384" cy="1255875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9796575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2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78264" y="1590683"/>
            <a:ext cx="5205288" cy="442149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Inhaltsplatzhalter 2"/>
          <p:cNvSpPr>
            <a:spLocks noGrp="1"/>
          </p:cNvSpPr>
          <p:nvPr>
            <p:ph idx="10"/>
          </p:nvPr>
        </p:nvSpPr>
        <p:spPr>
          <a:xfrm>
            <a:off x="6406869" y="1590682"/>
            <a:ext cx="5205476" cy="4421498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578263" y="334799"/>
            <a:ext cx="11021384" cy="1255875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5674650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2"/>
          <p:cNvSpPr>
            <a:spLocks noGrp="1"/>
          </p:cNvSpPr>
          <p:nvPr>
            <p:ph idx="10"/>
          </p:nvPr>
        </p:nvSpPr>
        <p:spPr>
          <a:xfrm>
            <a:off x="4876179" y="1590683"/>
            <a:ext cx="6723468" cy="4430713"/>
          </a:xfrm>
        </p:spPr>
        <p:txBody>
          <a:bodyPr/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Bildplatzhalter 2"/>
          <p:cNvSpPr>
            <a:spLocks noGrp="1"/>
          </p:cNvSpPr>
          <p:nvPr>
            <p:ph type="pic" sz="quarter" idx="11"/>
          </p:nvPr>
        </p:nvSpPr>
        <p:spPr>
          <a:xfrm>
            <a:off x="578264" y="1590683"/>
            <a:ext cx="3678187" cy="4430713"/>
          </a:xfr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578263" y="334799"/>
            <a:ext cx="11021384" cy="1255875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14569551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INHALT &amp;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1">
            <a:extLst>
              <a:ext uri="{FF2B5EF4-FFF2-40B4-BE49-F238E27FC236}">
                <a16:creationId xmlns:a16="http://schemas.microsoft.com/office/drawing/2014/main" id="{552C2170-FD90-4D05-9499-6B64503E5AFD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 bwMode="gray">
          <a:xfrm>
            <a:off x="-1" y="1511999"/>
            <a:ext cx="4063471" cy="2276951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42" name="Bildplatzhalter 2">
            <a:extLst>
              <a:ext uri="{FF2B5EF4-FFF2-40B4-BE49-F238E27FC236}">
                <a16:creationId xmlns:a16="http://schemas.microsoft.com/office/drawing/2014/main" id="{088D755B-0113-46AE-BBCC-0A866CD7E326}"/>
              </a:ext>
            </a:extLst>
          </p:cNvPr>
          <p:cNvSpPr>
            <a:spLocks noGrp="1" noChangeAspect="1"/>
          </p:cNvSpPr>
          <p:nvPr>
            <p:ph type="pic" sz="quarter" idx="17"/>
          </p:nvPr>
        </p:nvSpPr>
        <p:spPr bwMode="gray">
          <a:xfrm>
            <a:off x="4063471" y="1511999"/>
            <a:ext cx="4063471" cy="2276951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43" name="Bildplatzhalter 3">
            <a:extLst>
              <a:ext uri="{FF2B5EF4-FFF2-40B4-BE49-F238E27FC236}">
                <a16:creationId xmlns:a16="http://schemas.microsoft.com/office/drawing/2014/main" id="{9175AD27-7AE9-400D-894B-B0C50E692B84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 bwMode="gray">
          <a:xfrm>
            <a:off x="8126942" y="1511999"/>
            <a:ext cx="4063471" cy="2276951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44" name="Inhalt 1">
            <a:extLst>
              <a:ext uri="{FF2B5EF4-FFF2-40B4-BE49-F238E27FC236}">
                <a16:creationId xmlns:a16="http://schemas.microsoft.com/office/drawing/2014/main" id="{94889119-E702-4E7A-9A73-B2B0E13FAC03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0" y="3788964"/>
            <a:ext cx="4060825" cy="2276964"/>
          </a:xfrm>
        </p:spPr>
        <p:txBody>
          <a:bodyPr vert="horz" lIns="540000" tIns="360000" rIns="540000" bIns="0" rtlCol="0">
            <a:noAutofit/>
          </a:bodyPr>
          <a:lstStyle>
            <a:lvl1pPr>
              <a:defRPr lang="de-DE" noProof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lang="de-DE" noProof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lang="de-DE" noProof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lang="de-DE" noProof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lang="de-DE" noProof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45" name="Inhalt 2">
            <a:extLst>
              <a:ext uri="{FF2B5EF4-FFF2-40B4-BE49-F238E27FC236}">
                <a16:creationId xmlns:a16="http://schemas.microsoft.com/office/drawing/2014/main" id="{13CDA819-40A7-489C-BA04-3A15C225FA72}"/>
              </a:ext>
            </a:extLst>
          </p:cNvPr>
          <p:cNvSpPr>
            <a:spLocks noGrp="1"/>
          </p:cNvSpPr>
          <p:nvPr>
            <p:ph idx="19" hasCustomPrompt="1"/>
          </p:nvPr>
        </p:nvSpPr>
        <p:spPr bwMode="gray">
          <a:xfrm>
            <a:off x="4064794" y="3788964"/>
            <a:ext cx="4060825" cy="2276964"/>
          </a:xfrm>
        </p:spPr>
        <p:txBody>
          <a:bodyPr vert="horz" lIns="540000" tIns="360000" rIns="540000" bIns="0" rtlCol="0">
            <a:noAutofit/>
          </a:bodyPr>
          <a:lstStyle>
            <a:lvl1pPr>
              <a:defRPr lang="de-DE" noProof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lang="de-DE" noProof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lang="de-DE" noProof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lang="de-DE" noProof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lang="de-DE" noProof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46" name="Inhalt 3">
            <a:extLst>
              <a:ext uri="{FF2B5EF4-FFF2-40B4-BE49-F238E27FC236}">
                <a16:creationId xmlns:a16="http://schemas.microsoft.com/office/drawing/2014/main" id="{3BD66FCC-0DCA-4B41-960F-21C816E2A707}"/>
              </a:ext>
            </a:extLst>
          </p:cNvPr>
          <p:cNvSpPr>
            <a:spLocks noGrp="1"/>
          </p:cNvSpPr>
          <p:nvPr>
            <p:ph idx="20" hasCustomPrompt="1"/>
          </p:nvPr>
        </p:nvSpPr>
        <p:spPr bwMode="gray">
          <a:xfrm>
            <a:off x="8129588" y="3788964"/>
            <a:ext cx="4060825" cy="2276964"/>
          </a:xfrm>
        </p:spPr>
        <p:txBody>
          <a:bodyPr vert="horz" lIns="540000" tIns="360000" rIns="540000" bIns="0" rtlCol="0">
            <a:noAutofit/>
          </a:bodyPr>
          <a:lstStyle>
            <a:lvl1pPr>
              <a:defRPr lang="de-DE" noProof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lang="de-DE" noProof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lang="de-DE" noProof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lang="de-DE" noProof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lang="de-DE" noProof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103" name="Titel">
            <a:extLst>
              <a:ext uri="{FF2B5EF4-FFF2-40B4-BE49-F238E27FC236}">
                <a16:creationId xmlns:a16="http://schemas.microsoft.com/office/drawing/2014/main" id="{CBD37590-67AC-49C4-A1D7-2F5AB13866DB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40000" y="432000"/>
            <a:ext cx="11109600" cy="900000"/>
          </a:xfrm>
        </p:spPr>
        <p:txBody>
          <a:bodyPr/>
          <a:lstStyle>
            <a:lvl1pPr>
              <a:defRPr cap="none" baseline="0"/>
            </a:lvl1pPr>
          </a:lstStyle>
          <a:p>
            <a:r>
              <a:rPr lang="de-DE" noProof="0"/>
              <a:t>Titelmasterformat durch Klicken bearbeiten</a:t>
            </a:r>
          </a:p>
        </p:txBody>
      </p:sp>
      <p:sp>
        <p:nvSpPr>
          <p:cNvPr id="104" name="Untertitel">
            <a:extLst>
              <a:ext uri="{FF2B5EF4-FFF2-40B4-BE49-F238E27FC236}">
                <a16:creationId xmlns:a16="http://schemas.microsoft.com/office/drawing/2014/main" id="{2830255C-A9EB-471E-8B37-CD61B74E892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40000" y="900000"/>
            <a:ext cx="11109600" cy="432000"/>
          </a:xfrm>
        </p:spPr>
        <p:txBody>
          <a:bodyPr/>
          <a:lstStyle>
            <a:lvl1pPr marL="0" indent="0">
              <a:buNone/>
              <a:defRPr sz="1800" b="1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e-DE" noProof="0"/>
              <a:t>Geben Sie Ihren Untertitel ein</a:t>
            </a:r>
          </a:p>
        </p:txBody>
      </p:sp>
      <p:cxnSp>
        <p:nvCxnSpPr>
          <p:cNvPr id="198" name="Gerader Verbinder 197">
            <a:extLst>
              <a:ext uri="{FF2B5EF4-FFF2-40B4-BE49-F238E27FC236}">
                <a16:creationId xmlns:a16="http://schemas.microsoft.com/office/drawing/2014/main" id="{226E38BA-CDDF-44C5-AB6E-CF40FCD6026B}"/>
              </a:ext>
            </a:extLst>
          </p:cNvPr>
          <p:cNvCxnSpPr/>
          <p:nvPr userDrawn="1"/>
        </p:nvCxnSpPr>
        <p:spPr bwMode="gray">
          <a:xfrm>
            <a:off x="1080000" y="6354000"/>
            <a:ext cx="0" cy="216000"/>
          </a:xfrm>
          <a:prstGeom prst="line">
            <a:avLst/>
          </a:prstGeom>
          <a:ln w="12700" cap="flat">
            <a:solidFill>
              <a:schemeClr val="accent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9" name="Foliennummernplatzhalter">
            <a:extLst>
              <a:ext uri="{FF2B5EF4-FFF2-40B4-BE49-F238E27FC236}">
                <a16:creationId xmlns:a16="http://schemas.microsoft.com/office/drawing/2014/main" id="{63ADFD7A-3531-4705-98A2-64D7D71E91A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40000" y="6318000"/>
            <a:ext cx="360000" cy="288000"/>
          </a:xfrm>
          <a:prstGeom prst="rect">
            <a:avLst/>
          </a:prstGeom>
          <a:ln w="12700" cap="sq">
            <a:noFill/>
            <a:miter lim="800000"/>
          </a:ln>
        </p:spPr>
        <p:txBody>
          <a:bodyPr vert="horz" lIns="0" tIns="0" rIns="0" bIns="0" rtlCol="0" anchor="ctr" anchorCtr="0"/>
          <a:lstStyle>
            <a:lvl1pPr>
              <a:defRPr lang="de-DE" sz="1600" smtClean="0">
                <a:solidFill>
                  <a:schemeClr val="accent1"/>
                </a:solidFill>
              </a:defRPr>
            </a:lvl1pPr>
          </a:lstStyle>
          <a:p>
            <a:fld id="{B36614E7-DD24-4A03-99F5-3A9F8BBCCC0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00" name="Fußzeile">
            <a:extLst>
              <a:ext uri="{FF2B5EF4-FFF2-40B4-BE49-F238E27FC236}">
                <a16:creationId xmlns:a16="http://schemas.microsoft.com/office/drawing/2014/main" id="{C9FF8D50-4225-44C0-9997-DADB72A2560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1260000" y="6318000"/>
            <a:ext cx="4832138" cy="288000"/>
          </a:xfrm>
          <a:prstGeom prst="rect">
            <a:avLst/>
          </a:prstGeom>
        </p:spPr>
        <p:txBody>
          <a:bodyPr vert="horz" lIns="108000" tIns="0" rIns="0" bIns="0" rtlCol="0" anchor="ctr" anchorCtr="0"/>
          <a:lstStyle>
            <a:lvl1pPr algn="l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e-DE"/>
              <a:t>© Fraunhofer IEM / Heinz Nixdorf Institut</a:t>
            </a:r>
          </a:p>
        </p:txBody>
      </p:sp>
      <p:pic>
        <p:nvPicPr>
          <p:cNvPr id="14" name="Grafik 13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149" b="23187"/>
          <a:stretch/>
        </p:blipFill>
        <p:spPr>
          <a:xfrm>
            <a:off x="7121745" y="6275232"/>
            <a:ext cx="894495" cy="3952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1683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e 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78263" y="334799"/>
            <a:ext cx="11021384" cy="1255875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78143267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ayer">
            <a:extLst>
              <a:ext uri="{FF2B5EF4-FFF2-40B4-BE49-F238E27FC236}">
                <a16:creationId xmlns:a16="http://schemas.microsoft.com/office/drawing/2014/main" id="{D3F68BB8-63AF-4CFE-BD34-10B548359135}"/>
              </a:ext>
            </a:extLst>
          </p:cNvPr>
          <p:cNvSpPr>
            <a:spLocks noGrp="1" noChangeAspect="1"/>
          </p:cNvSpPr>
          <p:nvPr>
            <p:ph type="ctrTitle" hasCustomPrompt="1"/>
          </p:nvPr>
        </p:nvSpPr>
        <p:spPr bwMode="gray">
          <a:xfrm>
            <a:off x="0" y="0"/>
            <a:ext cx="12190413" cy="6858000"/>
          </a:xfrm>
          <a:prstGeom prst="rect">
            <a:avLst/>
          </a:prstGeom>
          <a:gradFill flip="none" rotWithShape="1">
            <a:gsLst>
              <a:gs pos="80000">
                <a:schemeClr val="accent1"/>
              </a:gs>
              <a:gs pos="5000">
                <a:schemeClr val="tx2"/>
              </a:gs>
            </a:gsLst>
            <a:lin ang="2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algn="r">
              <a:defRPr lang="en-US" sz="1600" noProof="0" dirty="0"/>
            </a:lvl1pPr>
          </a:lstStyle>
          <a:p>
            <a:pPr marL="0" lvl="0" indent="0" algn="ctr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</a:pPr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474087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ÄSENTATIONSTITEL KURZ |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Bildplatzhalter">
            <a:extLst>
              <a:ext uri="{FF2B5EF4-FFF2-40B4-BE49-F238E27FC236}">
                <a16:creationId xmlns:a16="http://schemas.microsoft.com/office/drawing/2014/main" id="{936E88EA-150F-4333-8A2A-F2C2ECF6CE00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 bwMode="gray">
          <a:xfrm>
            <a:off x="0" y="0"/>
            <a:ext cx="8126935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9" name="Layer">
            <a:extLst>
              <a:ext uri="{FF2B5EF4-FFF2-40B4-BE49-F238E27FC236}">
                <a16:creationId xmlns:a16="http://schemas.microsoft.com/office/drawing/2014/main" id="{C384C9F1-7DEC-42B4-9C39-7C3F5C9D9CFA}"/>
              </a:ext>
            </a:extLst>
          </p:cNvPr>
          <p:cNvSpPr>
            <a:spLocks noGrp="1" noChangeAspect="1"/>
          </p:cNvSpPr>
          <p:nvPr>
            <p:ph type="ctrTitle" hasCustomPrompt="1"/>
          </p:nvPr>
        </p:nvSpPr>
        <p:spPr bwMode="gray">
          <a:xfrm>
            <a:off x="-1" y="0"/>
            <a:ext cx="8128800" cy="6858000"/>
          </a:xfrm>
          <a:prstGeom prst="rect">
            <a:avLst/>
          </a:prstGeom>
          <a:gradFill flip="none" rotWithShape="1">
            <a:gsLst>
              <a:gs pos="80000">
                <a:schemeClr val="accent1">
                  <a:alpha val="80000"/>
                </a:schemeClr>
              </a:gs>
              <a:gs pos="5000">
                <a:schemeClr val="tx2">
                  <a:alpha val="80000"/>
                </a:schemeClr>
              </a:gs>
            </a:gsLst>
            <a:lin ang="2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algn="l">
              <a:defRPr lang="en-US" sz="1600" noProof="0" dirty="0"/>
            </a:lvl1pPr>
          </a:lstStyle>
          <a:p>
            <a:pPr marL="0" lvl="0" indent="0" algn="ctr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</a:pPr>
            <a:r>
              <a:rPr lang="en-US" noProof="0"/>
              <a:t> </a:t>
            </a:r>
          </a:p>
        </p:txBody>
      </p:sp>
      <p:pic>
        <p:nvPicPr>
          <p:cNvPr id="72" name="LOGO Fraunhofer">
            <a:extLst>
              <a:ext uri="{FF2B5EF4-FFF2-40B4-BE49-F238E27FC236}">
                <a16:creationId xmlns:a16="http://schemas.microsoft.com/office/drawing/2014/main" id="{003F952E-3A86-4B1D-8D50-D2D8AB7A6E0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gray">
          <a:xfrm>
            <a:off x="8668800" y="2522058"/>
            <a:ext cx="2646000" cy="719711"/>
          </a:xfrm>
          <a:prstGeom prst="rect">
            <a:avLst/>
          </a:prstGeom>
        </p:spPr>
      </p:pic>
      <p:pic>
        <p:nvPicPr>
          <p:cNvPr id="73" name="LOGO Heinz Nixdorf Institut - farbig" descr="Ein Bild, das Teller, Zeichnung, Schild enthält.&#10;&#10;Automatisch generierte Beschreibung">
            <a:extLst>
              <a:ext uri="{FF2B5EF4-FFF2-40B4-BE49-F238E27FC236}">
                <a16:creationId xmlns:a16="http://schemas.microsoft.com/office/drawing/2014/main" id="{4D75D51A-D9F4-4941-A0C5-FAD7D3005D3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gray">
          <a:xfrm>
            <a:off x="8668800" y="3915055"/>
            <a:ext cx="2646000" cy="413945"/>
          </a:xfrm>
          <a:prstGeom prst="rect">
            <a:avLst/>
          </a:prstGeom>
        </p:spPr>
      </p:pic>
      <p:sp>
        <p:nvSpPr>
          <p:cNvPr id="2" name="Fußzeilenplatzhalter">
            <a:extLst>
              <a:ext uri="{FF2B5EF4-FFF2-40B4-BE49-F238E27FC236}">
                <a16:creationId xmlns:a16="http://schemas.microsoft.com/office/drawing/2014/main" id="{B55E65AE-818E-4E5C-9682-E5A42F9E7DEB}"/>
              </a:ext>
            </a:extLst>
          </p:cNvPr>
          <p:cNvSpPr>
            <a:spLocks noGrp="1"/>
          </p:cNvSpPr>
          <p:nvPr userDrawn="1">
            <p:ph type="ftr" sz="quarter" idx="17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© Heinz Nixdorf Institut / Fraunhofer IEM</a:t>
            </a:r>
          </a:p>
        </p:txBody>
      </p:sp>
      <p:sp>
        <p:nvSpPr>
          <p:cNvPr id="68" name="Strich">
            <a:extLst>
              <a:ext uri="{FF2B5EF4-FFF2-40B4-BE49-F238E27FC236}">
                <a16:creationId xmlns:a16="http://schemas.microsoft.com/office/drawing/2014/main" id="{C4D079AA-E895-4A9A-8FE0-E2FD06222864}"/>
              </a:ext>
            </a:extLst>
          </p:cNvPr>
          <p:cNvSpPr>
            <a:spLocks noGrp="1"/>
          </p:cNvSpPr>
          <p:nvPr userDrawn="1">
            <p:ph sz="quarter" idx="38" hasCustomPrompt="1"/>
          </p:nvPr>
        </p:nvSpPr>
        <p:spPr bwMode="gray">
          <a:xfrm>
            <a:off x="941337" y="6426000"/>
            <a:ext cx="10800" cy="21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  <a:lvl2pPr marL="266700" indent="0">
              <a:buNone/>
              <a:defRPr/>
            </a:lvl2pPr>
            <a:lvl3pPr marL="542925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3" name="Foliennummernplatzhalter">
            <a:extLst>
              <a:ext uri="{FF2B5EF4-FFF2-40B4-BE49-F238E27FC236}">
                <a16:creationId xmlns:a16="http://schemas.microsoft.com/office/drawing/2014/main" id="{B47B3878-D514-4BA5-852C-854BDE692217}"/>
              </a:ext>
            </a:extLst>
          </p:cNvPr>
          <p:cNvSpPr>
            <a:spLocks noGrp="1"/>
          </p:cNvSpPr>
          <p:nvPr userDrawn="1">
            <p:ph type="sldNum" sz="quarter" idx="18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5685BD5-7F70-499C-8F04-1460C72EE5D6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3" name="Textplatzhalter">
            <a:extLst>
              <a:ext uri="{FF2B5EF4-FFF2-40B4-BE49-F238E27FC236}">
                <a16:creationId xmlns:a16="http://schemas.microsoft.com/office/drawing/2014/main" id="{8D2CBA0F-97DF-48E5-842F-6E8E05278B5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875667" y="2619000"/>
            <a:ext cx="6709403" cy="1620000"/>
          </a:xfrm>
        </p:spPr>
        <p:txBody>
          <a:bodyPr anchor="ctr" anchorCtr="0"/>
          <a:lstStyle>
            <a:lvl1pPr marL="0" indent="0" algn="r">
              <a:buNone/>
              <a:defRPr sz="40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Präsentationstitel</a:t>
            </a:r>
            <a:br>
              <a:rPr lang="de-DE"/>
            </a:br>
            <a:r>
              <a:rPr lang="de-DE"/>
              <a:t>Ich kann maximal </a:t>
            </a:r>
            <a:br>
              <a:rPr lang="de-DE"/>
            </a:br>
            <a:r>
              <a:rPr lang="de-DE"/>
              <a:t>3 Zeilen lang sein</a:t>
            </a:r>
          </a:p>
        </p:txBody>
      </p:sp>
    </p:spTree>
    <p:extLst>
      <p:ext uri="{BB962C8B-B14F-4D97-AF65-F5344CB8AC3E}">
        <p14:creationId xmlns:p14="http://schemas.microsoft.com/office/powerpoint/2010/main" val="3998486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ÄSENTATIONSTITEL KURZ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Bildplatzhalter">
            <a:extLst>
              <a:ext uri="{FF2B5EF4-FFF2-40B4-BE49-F238E27FC236}">
                <a16:creationId xmlns:a16="http://schemas.microsoft.com/office/drawing/2014/main" id="{936E88EA-150F-4333-8A2A-F2C2ECF6CE00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 bwMode="gray">
          <a:xfrm>
            <a:off x="0" y="0"/>
            <a:ext cx="8126935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71" name="Layer">
            <a:extLst>
              <a:ext uri="{FF2B5EF4-FFF2-40B4-BE49-F238E27FC236}">
                <a16:creationId xmlns:a16="http://schemas.microsoft.com/office/drawing/2014/main" id="{6F8B64DE-8910-49D2-9588-913E3B0EE335}"/>
              </a:ext>
            </a:extLst>
          </p:cNvPr>
          <p:cNvSpPr>
            <a:spLocks noGrp="1" noChangeAspect="1"/>
          </p:cNvSpPr>
          <p:nvPr>
            <p:ph type="ctrTitle" hasCustomPrompt="1"/>
          </p:nvPr>
        </p:nvSpPr>
        <p:spPr bwMode="gray">
          <a:xfrm>
            <a:off x="-1" y="0"/>
            <a:ext cx="8128800" cy="6858000"/>
          </a:xfrm>
          <a:prstGeom prst="rect">
            <a:avLst/>
          </a:prstGeom>
          <a:gradFill flip="none" rotWithShape="1">
            <a:gsLst>
              <a:gs pos="80000">
                <a:schemeClr val="accent1">
                  <a:alpha val="80000"/>
                </a:schemeClr>
              </a:gs>
              <a:gs pos="5000">
                <a:schemeClr val="tx2">
                  <a:alpha val="80000"/>
                </a:schemeClr>
              </a:gs>
            </a:gsLst>
            <a:lin ang="2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>
              <a:defRPr lang="en-US" sz="1600" noProof="0" dirty="0"/>
            </a:lvl1pPr>
          </a:lstStyle>
          <a:p>
            <a:pPr marL="0" lvl="0" indent="0" algn="ctr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</a:pPr>
            <a:r>
              <a:rPr lang="en-US" noProof="0"/>
              <a:t> </a:t>
            </a:r>
          </a:p>
        </p:txBody>
      </p:sp>
      <p:pic>
        <p:nvPicPr>
          <p:cNvPr id="70" name="LOGO Fraunhofer">
            <a:extLst>
              <a:ext uri="{FF2B5EF4-FFF2-40B4-BE49-F238E27FC236}">
                <a16:creationId xmlns:a16="http://schemas.microsoft.com/office/drawing/2014/main" id="{D3844857-EDE9-491F-B663-3F488388D68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gray">
          <a:xfrm>
            <a:off x="8668800" y="2522058"/>
            <a:ext cx="2646000" cy="719711"/>
          </a:xfrm>
          <a:prstGeom prst="rect">
            <a:avLst/>
          </a:prstGeom>
        </p:spPr>
      </p:pic>
      <p:pic>
        <p:nvPicPr>
          <p:cNvPr id="72" name="LOGO Heinz Nixdorf Institut - farbig" descr="Ein Bild, das Teller, Zeichnung, Schild enthält.&#10;&#10;Automatisch generierte Beschreibung">
            <a:extLst>
              <a:ext uri="{FF2B5EF4-FFF2-40B4-BE49-F238E27FC236}">
                <a16:creationId xmlns:a16="http://schemas.microsoft.com/office/drawing/2014/main" id="{D1E7CBA5-33AC-4048-B08B-6CFB29BB3A9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gray">
          <a:xfrm>
            <a:off x="8668800" y="3915055"/>
            <a:ext cx="2646000" cy="413945"/>
          </a:xfrm>
          <a:prstGeom prst="rect">
            <a:avLst/>
          </a:prstGeom>
        </p:spPr>
      </p:pic>
      <p:sp>
        <p:nvSpPr>
          <p:cNvPr id="2" name="Fußzeilenplatzhalter">
            <a:extLst>
              <a:ext uri="{FF2B5EF4-FFF2-40B4-BE49-F238E27FC236}">
                <a16:creationId xmlns:a16="http://schemas.microsoft.com/office/drawing/2014/main" id="{DDBE4F92-6E46-4539-80DB-F9858E0C8FC5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© Heinz Nixdorf Institut / Fraunhofer IEM</a:t>
            </a:r>
          </a:p>
        </p:txBody>
      </p:sp>
      <p:sp>
        <p:nvSpPr>
          <p:cNvPr id="69" name="Strich">
            <a:extLst>
              <a:ext uri="{FF2B5EF4-FFF2-40B4-BE49-F238E27FC236}">
                <a16:creationId xmlns:a16="http://schemas.microsoft.com/office/drawing/2014/main" id="{88C7BD78-A91D-4BB4-AFC9-40610F0B949C}"/>
              </a:ext>
            </a:extLst>
          </p:cNvPr>
          <p:cNvSpPr>
            <a:spLocks noGrp="1"/>
          </p:cNvSpPr>
          <p:nvPr>
            <p:ph sz="quarter" idx="38" hasCustomPrompt="1"/>
          </p:nvPr>
        </p:nvSpPr>
        <p:spPr bwMode="gray">
          <a:xfrm>
            <a:off x="941337" y="6426000"/>
            <a:ext cx="10800" cy="21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  <a:lvl2pPr marL="266700" indent="0">
              <a:buNone/>
              <a:defRPr/>
            </a:lvl2pPr>
            <a:lvl3pPr marL="542925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3" name="Foliennummernplatzhalter">
            <a:extLst>
              <a:ext uri="{FF2B5EF4-FFF2-40B4-BE49-F238E27FC236}">
                <a16:creationId xmlns:a16="http://schemas.microsoft.com/office/drawing/2014/main" id="{015C3B70-D8C6-441F-9C87-61406532DBB7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5685BD5-7F70-499C-8F04-1460C72EE5D6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5" name="Textplatzhalter 1">
            <a:extLst>
              <a:ext uri="{FF2B5EF4-FFF2-40B4-BE49-F238E27FC236}">
                <a16:creationId xmlns:a16="http://schemas.microsoft.com/office/drawing/2014/main" id="{C95372D0-698F-4BF5-9EFC-658B317DD79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875667" y="1395000"/>
            <a:ext cx="6709403" cy="1620000"/>
          </a:xfrm>
        </p:spPr>
        <p:txBody>
          <a:bodyPr anchor="b" anchorCtr="0"/>
          <a:lstStyle>
            <a:lvl1pPr marL="0" indent="0" algn="r">
              <a:buNone/>
              <a:defRPr sz="40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Präsentationstitel</a:t>
            </a:r>
            <a:br>
              <a:rPr lang="de-DE"/>
            </a:br>
            <a:r>
              <a:rPr lang="de-DE"/>
              <a:t>Ich kann maximal </a:t>
            </a:r>
            <a:br>
              <a:rPr lang="de-DE"/>
            </a:br>
            <a:r>
              <a:rPr lang="de-DE"/>
              <a:t>3 Zeilen lang sein</a:t>
            </a:r>
          </a:p>
        </p:txBody>
      </p:sp>
      <p:sp>
        <p:nvSpPr>
          <p:cNvPr id="76" name="Textplatzhalter 2">
            <a:extLst>
              <a:ext uri="{FF2B5EF4-FFF2-40B4-BE49-F238E27FC236}">
                <a16:creationId xmlns:a16="http://schemas.microsoft.com/office/drawing/2014/main" id="{EC343F5F-8EB2-4E6B-8769-EEA9F2EFFA3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875667" y="3195000"/>
            <a:ext cx="6709403" cy="360000"/>
          </a:xfrm>
        </p:spPr>
        <p:txBody>
          <a:bodyPr anchor="t" anchorCtr="0"/>
          <a:lstStyle>
            <a:lvl1pPr marL="0" indent="0" algn="r">
              <a:spcAft>
                <a:spcPts val="0"/>
              </a:spcAft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Geben Sie Ihren Untertitel ein</a:t>
            </a:r>
          </a:p>
        </p:txBody>
      </p:sp>
      <p:sp>
        <p:nvSpPr>
          <p:cNvPr id="77" name="Textplatzhalter 3">
            <a:extLst>
              <a:ext uri="{FF2B5EF4-FFF2-40B4-BE49-F238E27FC236}">
                <a16:creationId xmlns:a16="http://schemas.microsoft.com/office/drawing/2014/main" id="{73F5E49C-F825-4ABB-BA73-5849B1007C1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875667" y="4095000"/>
            <a:ext cx="6709403" cy="720000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None/>
              <a:defRPr sz="28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</a:t>
            </a:r>
            <a:br>
              <a:rPr lang="de-DE"/>
            </a:br>
            <a:r>
              <a:rPr lang="de-DE"/>
              <a:t>bearbeiten</a:t>
            </a:r>
          </a:p>
        </p:txBody>
      </p:sp>
    </p:spTree>
    <p:extLst>
      <p:ext uri="{BB962C8B-B14F-4D97-AF65-F5344CB8AC3E}">
        <p14:creationId xmlns:p14="http://schemas.microsoft.com/office/powerpoint/2010/main" val="2077053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ÄSENTATIONSTITEL LANG |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">
            <a:extLst>
              <a:ext uri="{FF2B5EF4-FFF2-40B4-BE49-F238E27FC236}">
                <a16:creationId xmlns:a16="http://schemas.microsoft.com/office/drawing/2014/main" id="{00809997-D71A-47FF-AED9-FB350BF37DAD}"/>
              </a:ext>
            </a:extLst>
          </p:cNvPr>
          <p:cNvSpPr>
            <a:spLocks noGrp="1" noChangeAspect="1"/>
          </p:cNvSpPr>
          <p:nvPr>
            <p:ph type="pic" sz="quarter" idx="17"/>
          </p:nvPr>
        </p:nvSpPr>
        <p:spPr bwMode="gray">
          <a:xfrm>
            <a:off x="0" y="0"/>
            <a:ext cx="12190413" cy="6210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9" name="Layer">
            <a:extLst>
              <a:ext uri="{FF2B5EF4-FFF2-40B4-BE49-F238E27FC236}">
                <a16:creationId xmlns:a16="http://schemas.microsoft.com/office/drawing/2014/main" id="{1C3CBB73-E8B6-4BA9-9E63-E3AA23D8D416}"/>
              </a:ext>
            </a:extLst>
          </p:cNvPr>
          <p:cNvSpPr>
            <a:spLocks noGrp="1" noChangeAspect="1"/>
          </p:cNvSpPr>
          <p:nvPr>
            <p:ph type="body" sz="quarter" idx="21" hasCustomPrompt="1"/>
          </p:nvPr>
        </p:nvSpPr>
        <p:spPr bwMode="gray">
          <a:xfrm>
            <a:off x="0" y="0"/>
            <a:ext cx="12190413" cy="6210000"/>
          </a:xfrm>
          <a:gradFill flip="none" rotWithShape="1">
            <a:gsLst>
              <a:gs pos="80000">
                <a:schemeClr val="accent1">
                  <a:alpha val="80000"/>
                </a:schemeClr>
              </a:gs>
              <a:gs pos="5000">
                <a:schemeClr val="tx2">
                  <a:alpha val="80000"/>
                </a:schemeClr>
              </a:gs>
            </a:gsLst>
            <a:lin ang="2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de-DE" b="1" cap="none" baseline="0" noProof="0" dirty="0"/>
            </a:lvl1pPr>
          </a:lstStyle>
          <a:p>
            <a:pPr marL="270000" lvl="0" indent="-270000" algn="ctr">
              <a:buClr>
                <a:schemeClr val="accent1"/>
              </a:buClr>
            </a:pPr>
            <a:r>
              <a:rPr lang="de-DE"/>
              <a:t> </a:t>
            </a:r>
          </a:p>
        </p:txBody>
      </p:sp>
      <p:sp>
        <p:nvSpPr>
          <p:cNvPr id="2" name="Fußzeilenplatzhalter">
            <a:extLst>
              <a:ext uri="{FF2B5EF4-FFF2-40B4-BE49-F238E27FC236}">
                <a16:creationId xmlns:a16="http://schemas.microsoft.com/office/drawing/2014/main" id="{1DC2352A-7144-4BBC-AB68-A7B0F03DFFCF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 bwMode="gray"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e-DE"/>
              <a:t>© Heinz Nixdorf Institut / Fraunhofer IEM</a:t>
            </a:r>
          </a:p>
        </p:txBody>
      </p:sp>
      <p:sp>
        <p:nvSpPr>
          <p:cNvPr id="12" name="Strich">
            <a:extLst>
              <a:ext uri="{FF2B5EF4-FFF2-40B4-BE49-F238E27FC236}">
                <a16:creationId xmlns:a16="http://schemas.microsoft.com/office/drawing/2014/main" id="{764E1DDD-685F-4A10-996B-A57EFAF77339}"/>
              </a:ext>
            </a:extLst>
          </p:cNvPr>
          <p:cNvSpPr>
            <a:spLocks noGrp="1"/>
          </p:cNvSpPr>
          <p:nvPr>
            <p:ph sz="quarter" idx="38" hasCustomPrompt="1"/>
          </p:nvPr>
        </p:nvSpPr>
        <p:spPr bwMode="gray">
          <a:xfrm>
            <a:off x="941337" y="6426000"/>
            <a:ext cx="10800" cy="216000"/>
          </a:xfrm>
          <a:solidFill>
            <a:schemeClr val="tx1">
              <a:lumMod val="75000"/>
              <a:lumOff val="25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266700" indent="0">
              <a:buNone/>
              <a:defRPr/>
            </a:lvl2pPr>
            <a:lvl3pPr marL="542925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3" name="Foliennummernplatzhalter">
            <a:extLst>
              <a:ext uri="{FF2B5EF4-FFF2-40B4-BE49-F238E27FC236}">
                <a16:creationId xmlns:a16="http://schemas.microsoft.com/office/drawing/2014/main" id="{0073A1BC-A2B2-4A9E-B401-FF2A81FB77EC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 bwMode="gray"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65685BD5-7F70-499C-8F04-1460C72EE5D6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Textplatzhalter">
            <a:extLst>
              <a:ext uri="{FF2B5EF4-FFF2-40B4-BE49-F238E27FC236}">
                <a16:creationId xmlns:a16="http://schemas.microsoft.com/office/drawing/2014/main" id="{AC0D8B5C-69B6-4F45-83A5-CBC03A78B97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875667" y="2295000"/>
            <a:ext cx="10439079" cy="1620000"/>
          </a:xfrm>
        </p:spPr>
        <p:txBody>
          <a:bodyPr anchor="ctr" anchorCtr="0"/>
          <a:lstStyle>
            <a:lvl1pPr marL="0" indent="0" algn="l">
              <a:buNone/>
              <a:defRPr sz="40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Präsentationstitel</a:t>
            </a:r>
            <a:br>
              <a:rPr lang="de-DE"/>
            </a:br>
            <a:r>
              <a:rPr lang="de-DE"/>
              <a:t>Ich kann maximal </a:t>
            </a:r>
            <a:br>
              <a:rPr lang="de-DE"/>
            </a:br>
            <a:r>
              <a:rPr lang="de-DE"/>
              <a:t>3 Zeilen lang sein</a:t>
            </a:r>
          </a:p>
        </p:txBody>
      </p:sp>
    </p:spTree>
    <p:extLst>
      <p:ext uri="{BB962C8B-B14F-4D97-AF65-F5344CB8AC3E}">
        <p14:creationId xmlns:p14="http://schemas.microsoft.com/office/powerpoint/2010/main" val="3147939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ÄSENTATIONSTITEL LANG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">
            <a:extLst>
              <a:ext uri="{FF2B5EF4-FFF2-40B4-BE49-F238E27FC236}">
                <a16:creationId xmlns:a16="http://schemas.microsoft.com/office/drawing/2014/main" id="{00809997-D71A-47FF-AED9-FB350BF37DAD}"/>
              </a:ext>
            </a:extLst>
          </p:cNvPr>
          <p:cNvSpPr>
            <a:spLocks noGrp="1" noChangeAspect="1"/>
          </p:cNvSpPr>
          <p:nvPr>
            <p:ph type="pic" sz="quarter" idx="17"/>
          </p:nvPr>
        </p:nvSpPr>
        <p:spPr bwMode="gray">
          <a:xfrm>
            <a:off x="0" y="0"/>
            <a:ext cx="12190413" cy="6210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9" name="Layer">
            <a:extLst>
              <a:ext uri="{FF2B5EF4-FFF2-40B4-BE49-F238E27FC236}">
                <a16:creationId xmlns:a16="http://schemas.microsoft.com/office/drawing/2014/main" id="{1C3CBB73-E8B6-4BA9-9E63-E3AA23D8D416}"/>
              </a:ext>
            </a:extLst>
          </p:cNvPr>
          <p:cNvSpPr>
            <a:spLocks noGrp="1" noChangeAspect="1"/>
          </p:cNvSpPr>
          <p:nvPr>
            <p:ph type="body" sz="quarter" idx="21" hasCustomPrompt="1"/>
          </p:nvPr>
        </p:nvSpPr>
        <p:spPr bwMode="gray">
          <a:xfrm>
            <a:off x="0" y="0"/>
            <a:ext cx="12190413" cy="6210000"/>
          </a:xfrm>
          <a:gradFill flip="none" rotWithShape="1">
            <a:gsLst>
              <a:gs pos="80000">
                <a:schemeClr val="accent1">
                  <a:alpha val="80000"/>
                </a:schemeClr>
              </a:gs>
              <a:gs pos="5000">
                <a:schemeClr val="tx2">
                  <a:alpha val="80000"/>
                </a:schemeClr>
              </a:gs>
            </a:gsLst>
            <a:lin ang="2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>
              <a:buNone/>
              <a:defRPr lang="de-DE" b="1" cap="none" baseline="0" noProof="0" dirty="0"/>
            </a:lvl1pPr>
          </a:lstStyle>
          <a:p>
            <a:pPr marL="270000" lvl="0" indent="-270000" algn="ctr">
              <a:buClr>
                <a:schemeClr val="accent1"/>
              </a:buClr>
            </a:pPr>
            <a:r>
              <a:rPr lang="de-DE"/>
              <a:t> </a:t>
            </a:r>
          </a:p>
        </p:txBody>
      </p:sp>
      <p:sp>
        <p:nvSpPr>
          <p:cNvPr id="2" name="Fußzeilenplatzhalter">
            <a:extLst>
              <a:ext uri="{FF2B5EF4-FFF2-40B4-BE49-F238E27FC236}">
                <a16:creationId xmlns:a16="http://schemas.microsoft.com/office/drawing/2014/main" id="{1DC2352A-7144-4BBC-AB68-A7B0F03DFFCF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 bwMode="gray"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e-DE"/>
              <a:t>© Heinz Nixdorf Institut / Fraunhofer IEM</a:t>
            </a:r>
          </a:p>
        </p:txBody>
      </p:sp>
      <p:sp>
        <p:nvSpPr>
          <p:cNvPr id="12" name="Strich">
            <a:extLst>
              <a:ext uri="{FF2B5EF4-FFF2-40B4-BE49-F238E27FC236}">
                <a16:creationId xmlns:a16="http://schemas.microsoft.com/office/drawing/2014/main" id="{764E1DDD-685F-4A10-996B-A57EFAF77339}"/>
              </a:ext>
            </a:extLst>
          </p:cNvPr>
          <p:cNvSpPr>
            <a:spLocks noGrp="1"/>
          </p:cNvSpPr>
          <p:nvPr>
            <p:ph sz="quarter" idx="38" hasCustomPrompt="1"/>
          </p:nvPr>
        </p:nvSpPr>
        <p:spPr bwMode="gray">
          <a:xfrm>
            <a:off x="941337" y="6426000"/>
            <a:ext cx="10800" cy="216000"/>
          </a:xfrm>
          <a:solidFill>
            <a:schemeClr val="tx1">
              <a:lumMod val="75000"/>
              <a:lumOff val="25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266700" indent="0">
              <a:buNone/>
              <a:defRPr/>
            </a:lvl2pPr>
            <a:lvl3pPr marL="542925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3" name="Foliennummernplatzhalter">
            <a:extLst>
              <a:ext uri="{FF2B5EF4-FFF2-40B4-BE49-F238E27FC236}">
                <a16:creationId xmlns:a16="http://schemas.microsoft.com/office/drawing/2014/main" id="{0073A1BC-A2B2-4A9E-B401-FF2A81FB77EC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 bwMode="gray"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65685BD5-7F70-499C-8F04-1460C72EE5D6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Textplatzhalter 1">
            <a:extLst>
              <a:ext uri="{FF2B5EF4-FFF2-40B4-BE49-F238E27FC236}">
                <a16:creationId xmlns:a16="http://schemas.microsoft.com/office/drawing/2014/main" id="{AC0D8B5C-69B6-4F45-83A5-CBC03A78B97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875667" y="1395000"/>
            <a:ext cx="10439079" cy="1620000"/>
          </a:xfrm>
        </p:spPr>
        <p:txBody>
          <a:bodyPr anchor="b" anchorCtr="0"/>
          <a:lstStyle>
            <a:lvl1pPr marL="0" indent="0" algn="l">
              <a:buNone/>
              <a:defRPr sz="40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Präsentationstitel</a:t>
            </a:r>
            <a:br>
              <a:rPr lang="de-DE"/>
            </a:br>
            <a:r>
              <a:rPr lang="de-DE"/>
              <a:t>Ich kann maximal </a:t>
            </a:r>
            <a:br>
              <a:rPr lang="de-DE"/>
            </a:br>
            <a:r>
              <a:rPr lang="de-DE"/>
              <a:t>3 Zeilen lang sein</a:t>
            </a:r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2481A486-8B18-4E28-8F82-4360C47FACE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875667" y="3195000"/>
            <a:ext cx="10439079" cy="360000"/>
          </a:xfrm>
        </p:spPr>
        <p:txBody>
          <a:bodyPr anchor="t" anchorCtr="0"/>
          <a:lstStyle>
            <a:lvl1pPr marL="0" indent="0" algn="l">
              <a:spcAft>
                <a:spcPts val="0"/>
              </a:spcAft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Geben Sie Ihren Untertitel ein</a:t>
            </a:r>
          </a:p>
        </p:txBody>
      </p:sp>
      <p:sp>
        <p:nvSpPr>
          <p:cNvPr id="27" name="Textplatzhalter 3">
            <a:extLst>
              <a:ext uri="{FF2B5EF4-FFF2-40B4-BE49-F238E27FC236}">
                <a16:creationId xmlns:a16="http://schemas.microsoft.com/office/drawing/2014/main" id="{83E901C7-40AA-43AE-927E-A810EA1A321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875667" y="4095000"/>
            <a:ext cx="10439079" cy="720000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None/>
              <a:defRPr sz="28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</a:t>
            </a:r>
            <a:br>
              <a:rPr lang="de-DE"/>
            </a:br>
            <a:r>
              <a:rPr lang="de-DE"/>
              <a:t>bearbeiten</a:t>
            </a:r>
          </a:p>
        </p:txBody>
      </p:sp>
    </p:spTree>
    <p:extLst>
      <p:ext uri="{BB962C8B-B14F-4D97-AF65-F5344CB8AC3E}">
        <p14:creationId xmlns:p14="http://schemas.microsoft.com/office/powerpoint/2010/main" val="3998671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">
            <a:extLst>
              <a:ext uri="{FF2B5EF4-FFF2-40B4-BE49-F238E27FC236}">
                <a16:creationId xmlns:a16="http://schemas.microsoft.com/office/drawing/2014/main" id="{39151FA2-7C27-41D4-AA7B-6D17BEB5B995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 bwMode="gray">
          <a:xfrm>
            <a:off x="8126943" y="0"/>
            <a:ext cx="4063470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5" name="Layer">
            <a:extLst>
              <a:ext uri="{FF2B5EF4-FFF2-40B4-BE49-F238E27FC236}">
                <a16:creationId xmlns:a16="http://schemas.microsoft.com/office/drawing/2014/main" id="{DA545EB5-B67A-4929-A5BA-90455619DDCC}"/>
              </a:ext>
            </a:extLst>
          </p:cNvPr>
          <p:cNvSpPr>
            <a:spLocks noGrp="1" noChangeAspect="1"/>
          </p:cNvSpPr>
          <p:nvPr>
            <p:ph type="ctrTitle" hasCustomPrompt="1"/>
          </p:nvPr>
        </p:nvSpPr>
        <p:spPr bwMode="gray">
          <a:xfrm>
            <a:off x="8126013" y="0"/>
            <a:ext cx="4064400" cy="6858000"/>
          </a:xfrm>
          <a:prstGeom prst="rect">
            <a:avLst/>
          </a:prstGeom>
          <a:gradFill flip="none" rotWithShape="1">
            <a:gsLst>
              <a:gs pos="80000">
                <a:schemeClr val="accent1">
                  <a:alpha val="80000"/>
                </a:schemeClr>
              </a:gs>
              <a:gs pos="5000">
                <a:schemeClr val="tx2">
                  <a:alpha val="80000"/>
                </a:schemeClr>
              </a:gs>
            </a:gsLst>
            <a:lin ang="2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>
              <a:defRPr lang="en-US" sz="1600" noProof="0" dirty="0"/>
            </a:lvl1pPr>
          </a:lstStyle>
          <a:p>
            <a:pPr marL="0" lvl="0" indent="0" algn="ctr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</a:pPr>
            <a:r>
              <a:rPr lang="en-US" noProof="0"/>
              <a:t> </a:t>
            </a:r>
          </a:p>
        </p:txBody>
      </p:sp>
      <p:sp>
        <p:nvSpPr>
          <p:cNvPr id="2" name="Fußzeilenplatzhalter">
            <a:extLst>
              <a:ext uri="{FF2B5EF4-FFF2-40B4-BE49-F238E27FC236}">
                <a16:creationId xmlns:a16="http://schemas.microsoft.com/office/drawing/2014/main" id="{40F8AEFF-925F-487F-A415-36607FB672C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de-DE"/>
              <a:t>© Heinz Nixdorf Institut / Fraunhofer IEM</a:t>
            </a:r>
          </a:p>
        </p:txBody>
      </p:sp>
      <p:sp>
        <p:nvSpPr>
          <p:cNvPr id="8" name="Strich">
            <a:extLst>
              <a:ext uri="{FF2B5EF4-FFF2-40B4-BE49-F238E27FC236}">
                <a16:creationId xmlns:a16="http://schemas.microsoft.com/office/drawing/2014/main" id="{0572EFF2-4AF5-4180-9768-E45873ABE13D}"/>
              </a:ext>
            </a:extLst>
          </p:cNvPr>
          <p:cNvSpPr>
            <a:spLocks noGrp="1"/>
          </p:cNvSpPr>
          <p:nvPr>
            <p:ph sz="quarter" idx="38" hasCustomPrompt="1"/>
          </p:nvPr>
        </p:nvSpPr>
        <p:spPr bwMode="gray">
          <a:xfrm>
            <a:off x="941337" y="6426000"/>
            <a:ext cx="10800" cy="216000"/>
          </a:xfrm>
          <a:solidFill>
            <a:schemeClr val="tx1">
              <a:lumMod val="75000"/>
              <a:lumOff val="25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  <a:lvl2pPr marL="266700" indent="0">
              <a:buNone/>
              <a:defRPr/>
            </a:lvl2pPr>
            <a:lvl3pPr marL="542925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3" name="Foliennummernplatzhalter">
            <a:extLst>
              <a:ext uri="{FF2B5EF4-FFF2-40B4-BE49-F238E27FC236}">
                <a16:creationId xmlns:a16="http://schemas.microsoft.com/office/drawing/2014/main" id="{7691184B-BB34-498A-BFB0-3068D989AF2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65685BD5-7F70-499C-8F04-1460C72EE5D6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3" name="Nummer">
            <a:extLst>
              <a:ext uri="{FF2B5EF4-FFF2-40B4-BE49-F238E27FC236}">
                <a16:creationId xmlns:a16="http://schemas.microsoft.com/office/drawing/2014/main" id="{58D25ED1-7F9B-402D-9902-237C195FF0B5}"/>
              </a:ext>
            </a:extLst>
          </p:cNvPr>
          <p:cNvSpPr>
            <a:spLocks noGrp="1" noChangeAspect="1"/>
          </p:cNvSpPr>
          <p:nvPr>
            <p:ph type="body" sz="quarter" idx="11" hasCustomPrompt="1"/>
          </p:nvPr>
        </p:nvSpPr>
        <p:spPr bwMode="gray">
          <a:xfrm>
            <a:off x="8126942" y="2529000"/>
            <a:ext cx="1800000" cy="1800000"/>
          </a:xfrm>
          <a:noFill/>
        </p:spPr>
        <p:txBody>
          <a:bodyPr anchor="ctr" anchorCtr="0"/>
          <a:lstStyle>
            <a:lvl1pPr marL="0" indent="0" algn="ctr">
              <a:buNone/>
              <a:defRPr sz="7200" b="1">
                <a:solidFill>
                  <a:schemeClr val="bg1"/>
                </a:solidFill>
              </a:defRPr>
            </a:lvl1pPr>
            <a:lvl2pPr>
              <a:defRPr sz="7200"/>
            </a:lvl2pPr>
            <a:lvl3pPr>
              <a:defRPr sz="7200"/>
            </a:lvl3pPr>
            <a:lvl4pPr>
              <a:defRPr sz="7200"/>
            </a:lvl4pPr>
            <a:lvl5pPr>
              <a:defRPr sz="7200"/>
            </a:lvl5pPr>
          </a:lstStyle>
          <a:p>
            <a:pPr lvl="0"/>
            <a:r>
              <a:rPr lang="de-DE" err="1"/>
              <a:t>Nr</a:t>
            </a:r>
            <a:endParaRPr lang="de-DE"/>
          </a:p>
        </p:txBody>
      </p:sp>
      <p:sp>
        <p:nvSpPr>
          <p:cNvPr id="21" name="Titel">
            <a:extLst>
              <a:ext uri="{FF2B5EF4-FFF2-40B4-BE49-F238E27FC236}">
                <a16:creationId xmlns:a16="http://schemas.microsoft.com/office/drawing/2014/main" id="{31329682-E599-4252-AF47-C6A9CC9F13E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263470" y="2529000"/>
            <a:ext cx="5323471" cy="1800000"/>
          </a:xfrm>
        </p:spPr>
        <p:txBody>
          <a:bodyPr anchor="ctr" anchorCtr="0"/>
          <a:lstStyle>
            <a:lvl1pPr marL="0" indent="0" algn="r">
              <a:spcAft>
                <a:spcPts val="0"/>
              </a:spcAft>
              <a:buNone/>
              <a:defRPr sz="4000" b="1" cap="all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de-DE"/>
              <a:t>Kapiteltitel </a:t>
            </a:r>
            <a:br>
              <a:rPr lang="de-DE"/>
            </a:br>
            <a:r>
              <a:rPr lang="de-DE"/>
              <a:t>hier eingeben</a:t>
            </a:r>
          </a:p>
        </p:txBody>
      </p:sp>
    </p:spTree>
    <p:extLst>
      <p:ext uri="{BB962C8B-B14F-4D97-AF65-F5344CB8AC3E}">
        <p14:creationId xmlns:p14="http://schemas.microsoft.com/office/powerpoint/2010/main" val="1236049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|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">
            <a:extLst>
              <a:ext uri="{FF2B5EF4-FFF2-40B4-BE49-F238E27FC236}">
                <a16:creationId xmlns:a16="http://schemas.microsoft.com/office/drawing/2014/main" id="{39151FA2-7C27-41D4-AA7B-6D17BEB5B995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 bwMode="gray">
          <a:xfrm>
            <a:off x="8126943" y="0"/>
            <a:ext cx="4063470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5" name="Layer">
            <a:extLst>
              <a:ext uri="{FF2B5EF4-FFF2-40B4-BE49-F238E27FC236}">
                <a16:creationId xmlns:a16="http://schemas.microsoft.com/office/drawing/2014/main" id="{DA545EB5-B67A-4929-A5BA-90455619DDCC}"/>
              </a:ext>
            </a:extLst>
          </p:cNvPr>
          <p:cNvSpPr>
            <a:spLocks noGrp="1" noChangeAspect="1"/>
          </p:cNvSpPr>
          <p:nvPr>
            <p:ph type="ctrTitle" hasCustomPrompt="1"/>
          </p:nvPr>
        </p:nvSpPr>
        <p:spPr bwMode="gray">
          <a:xfrm>
            <a:off x="8126013" y="0"/>
            <a:ext cx="4064400" cy="6858000"/>
          </a:xfrm>
          <a:prstGeom prst="rect">
            <a:avLst/>
          </a:prstGeom>
          <a:gradFill flip="none" rotWithShape="1">
            <a:gsLst>
              <a:gs pos="80000">
                <a:schemeClr val="accent1">
                  <a:alpha val="80000"/>
                </a:schemeClr>
              </a:gs>
              <a:gs pos="5000">
                <a:schemeClr val="tx2">
                  <a:alpha val="80000"/>
                </a:schemeClr>
              </a:gs>
            </a:gsLst>
            <a:lin ang="2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>
              <a:defRPr lang="en-US" sz="1600" noProof="0" dirty="0"/>
            </a:lvl1pPr>
          </a:lstStyle>
          <a:p>
            <a:pPr marL="0" lvl="0" indent="0" algn="ctr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</a:pPr>
            <a:r>
              <a:rPr lang="en-US" noProof="0"/>
              <a:t> </a:t>
            </a:r>
          </a:p>
        </p:txBody>
      </p:sp>
      <p:sp>
        <p:nvSpPr>
          <p:cNvPr id="7" name="Fußzeilenplatzhalter">
            <a:extLst>
              <a:ext uri="{FF2B5EF4-FFF2-40B4-BE49-F238E27FC236}">
                <a16:creationId xmlns:a16="http://schemas.microsoft.com/office/drawing/2014/main" id="{974E9323-E53A-4599-BA84-EE3DA9F7FE7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1126674" y="6390005"/>
            <a:ext cx="4113213" cy="288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>
              <a:defRPr lang="de-DE" sz="100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e-DE"/>
              <a:t>© Heinz Nixdorf Institut / Fraunhofer IEM</a:t>
            </a:r>
          </a:p>
        </p:txBody>
      </p:sp>
      <p:sp>
        <p:nvSpPr>
          <p:cNvPr id="12" name="Strich">
            <a:extLst>
              <a:ext uri="{FF2B5EF4-FFF2-40B4-BE49-F238E27FC236}">
                <a16:creationId xmlns:a16="http://schemas.microsoft.com/office/drawing/2014/main" id="{705DACA2-A746-4CCB-8969-45A2F47BECD8}"/>
              </a:ext>
            </a:extLst>
          </p:cNvPr>
          <p:cNvSpPr>
            <a:spLocks noGrp="1"/>
          </p:cNvSpPr>
          <p:nvPr>
            <p:ph sz="quarter" idx="38" hasCustomPrompt="1"/>
          </p:nvPr>
        </p:nvSpPr>
        <p:spPr bwMode="gray">
          <a:xfrm>
            <a:off x="941337" y="6426000"/>
            <a:ext cx="10800" cy="216000"/>
          </a:xfrm>
          <a:solidFill>
            <a:schemeClr val="tx1">
              <a:lumMod val="75000"/>
              <a:lumOff val="25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  <a:lvl2pPr marL="266700" indent="0">
              <a:buNone/>
              <a:defRPr/>
            </a:lvl2pPr>
            <a:lvl3pPr marL="542925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8" name="Foliennummernplatzhalter">
            <a:extLst>
              <a:ext uri="{FF2B5EF4-FFF2-40B4-BE49-F238E27FC236}">
                <a16:creationId xmlns:a16="http://schemas.microsoft.com/office/drawing/2014/main" id="{FA9C6BA7-992C-4543-8445-72939C972B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40000" y="6390005"/>
            <a:ext cx="226800" cy="288000"/>
          </a:xfrm>
          <a:prstGeom prst="rect">
            <a:avLst/>
          </a:prstGeom>
          <a:ln w="12700" cap="sq">
            <a:noFill/>
            <a:miter lim="800000"/>
          </a:ln>
        </p:spPr>
        <p:txBody>
          <a:bodyPr vert="horz" lIns="0" tIns="0" rIns="0" bIns="0" rtlCol="0" anchor="ctr" anchorCtr="0"/>
          <a:lstStyle>
            <a:lvl1pPr>
              <a:defRPr lang="de-DE" sz="160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2FC27D00-ED81-4BE6-8C39-1CA64B67F9D6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6" name="Inhalt">
            <a:extLst>
              <a:ext uri="{FF2B5EF4-FFF2-40B4-BE49-F238E27FC236}">
                <a16:creationId xmlns:a16="http://schemas.microsoft.com/office/drawing/2014/main" id="{01C0B9A0-913C-4031-AB08-70985AC15324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540000" y="2591997"/>
            <a:ext cx="7046941" cy="2754005"/>
          </a:xfrm>
          <a:noFill/>
        </p:spPr>
        <p:txBody>
          <a:bodyPr vert="horz" lIns="0" tIns="0" rIns="0" bIns="0" rtlCol="0">
            <a:noAutofit/>
          </a:bodyPr>
          <a:lstStyle>
            <a:lvl1pPr>
              <a:defRPr lang="de-DE" noProof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lang="de-DE" noProof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lang="de-DE" noProof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lang="de-DE" noProof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lang="de-DE" noProof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18" name="Titel">
            <a:extLst>
              <a:ext uri="{FF2B5EF4-FFF2-40B4-BE49-F238E27FC236}">
                <a16:creationId xmlns:a16="http://schemas.microsoft.com/office/drawing/2014/main" id="{ECD28F88-E01B-4E40-A61E-85F36140234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540000" y="1511998"/>
            <a:ext cx="7046941" cy="90000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400" b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  <a:lvl2pPr marL="266700" indent="0">
              <a:buFont typeface="Arial" panose="020B0604020202020204" pitchFamily="34" charset="0"/>
              <a:buNone/>
              <a:defRPr sz="2800" b="1">
                <a:solidFill>
                  <a:schemeClr val="accent1"/>
                </a:solidFill>
              </a:defRPr>
            </a:lvl2pPr>
            <a:lvl3pPr marL="542925" indent="0">
              <a:buFont typeface="Arial" panose="020B0604020202020204" pitchFamily="34" charset="0"/>
              <a:buNone/>
              <a:defRPr sz="2800" b="1">
                <a:solidFill>
                  <a:schemeClr val="accent1"/>
                </a:solidFill>
              </a:defRPr>
            </a:lvl3pPr>
            <a:lvl4pPr marL="809625" indent="0">
              <a:buFont typeface="Arial" panose="020B0604020202020204" pitchFamily="34" charset="0"/>
              <a:buNone/>
              <a:defRPr sz="2800" b="1">
                <a:solidFill>
                  <a:schemeClr val="accent1"/>
                </a:solidFill>
              </a:defRPr>
            </a:lvl4pPr>
            <a:lvl5pPr marL="1076325" indent="0">
              <a:buFont typeface="Arial" panose="020B0604020202020204" pitchFamily="34" charset="0"/>
              <a:buNone/>
              <a:defRPr sz="28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Titelmasterformat durch Klicke bearbeiten</a:t>
            </a:r>
          </a:p>
        </p:txBody>
      </p:sp>
    </p:spTree>
    <p:extLst>
      <p:ext uri="{BB962C8B-B14F-4D97-AF65-F5344CB8AC3E}">
        <p14:creationId xmlns:p14="http://schemas.microsoft.com/office/powerpoint/2010/main" val="1607288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">
            <a:extLst>
              <a:ext uri="{FF2B5EF4-FFF2-40B4-BE49-F238E27FC236}">
                <a16:creationId xmlns:a16="http://schemas.microsoft.com/office/drawing/2014/main" id="{39151FA2-7C27-41D4-AA7B-6D17BEB5B995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 bwMode="gray">
          <a:xfrm>
            <a:off x="0" y="0"/>
            <a:ext cx="4063470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5" name="Layer">
            <a:extLst>
              <a:ext uri="{FF2B5EF4-FFF2-40B4-BE49-F238E27FC236}">
                <a16:creationId xmlns:a16="http://schemas.microsoft.com/office/drawing/2014/main" id="{DA545EB5-B67A-4929-A5BA-90455619DDCC}"/>
              </a:ext>
            </a:extLst>
          </p:cNvPr>
          <p:cNvSpPr>
            <a:spLocks noGrp="1" noChangeAspect="1"/>
          </p:cNvSpPr>
          <p:nvPr>
            <p:ph type="ctrTitle" hasCustomPrompt="1"/>
          </p:nvPr>
        </p:nvSpPr>
        <p:spPr bwMode="gray">
          <a:xfrm>
            <a:off x="0" y="0"/>
            <a:ext cx="4064400" cy="6858000"/>
          </a:xfrm>
          <a:prstGeom prst="rect">
            <a:avLst/>
          </a:prstGeom>
          <a:gradFill flip="none" rotWithShape="1">
            <a:gsLst>
              <a:gs pos="80000">
                <a:schemeClr val="accent1">
                  <a:alpha val="80000"/>
                </a:schemeClr>
              </a:gs>
              <a:gs pos="5000">
                <a:schemeClr val="tx2">
                  <a:alpha val="80000"/>
                </a:schemeClr>
              </a:gs>
            </a:gsLst>
            <a:lin ang="2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>
              <a:defRPr lang="en-US" sz="1600" noProof="0" dirty="0"/>
            </a:lvl1pPr>
          </a:lstStyle>
          <a:p>
            <a:pPr marL="0" lvl="0" indent="0" algn="ctr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</a:pPr>
            <a:r>
              <a:rPr lang="en-US" noProof="0"/>
              <a:t> </a:t>
            </a:r>
          </a:p>
        </p:txBody>
      </p:sp>
      <p:sp>
        <p:nvSpPr>
          <p:cNvPr id="2" name="Fußzeilenplatzhalter">
            <a:extLst>
              <a:ext uri="{FF2B5EF4-FFF2-40B4-BE49-F238E27FC236}">
                <a16:creationId xmlns:a16="http://schemas.microsoft.com/office/drawing/2014/main" id="{3B495A28-6018-408E-9260-068D280C2FE8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© Heinz Nixdorf Institut / Fraunhofer IEM</a:t>
            </a:r>
          </a:p>
        </p:txBody>
      </p:sp>
      <p:sp>
        <p:nvSpPr>
          <p:cNvPr id="9" name="Strich">
            <a:extLst>
              <a:ext uri="{FF2B5EF4-FFF2-40B4-BE49-F238E27FC236}">
                <a16:creationId xmlns:a16="http://schemas.microsoft.com/office/drawing/2014/main" id="{F7B76E93-AF41-49D9-9315-A1A0E2A9448B}"/>
              </a:ext>
            </a:extLst>
          </p:cNvPr>
          <p:cNvSpPr>
            <a:spLocks noGrp="1"/>
          </p:cNvSpPr>
          <p:nvPr>
            <p:ph sz="quarter" idx="38" hasCustomPrompt="1"/>
          </p:nvPr>
        </p:nvSpPr>
        <p:spPr bwMode="gray">
          <a:xfrm>
            <a:off x="941337" y="6426000"/>
            <a:ext cx="10800" cy="21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  <a:lvl2pPr marL="266700" indent="0">
              <a:buNone/>
              <a:defRPr/>
            </a:lvl2pPr>
            <a:lvl3pPr marL="542925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4" name="Foliennummernplatzhalter">
            <a:extLst>
              <a:ext uri="{FF2B5EF4-FFF2-40B4-BE49-F238E27FC236}">
                <a16:creationId xmlns:a16="http://schemas.microsoft.com/office/drawing/2014/main" id="{6D0DFA37-2B4B-430A-8BBA-1E229F75CD2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5685BD5-7F70-499C-8F04-1460C72EE5D6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3" name="Inhalt">
            <a:extLst>
              <a:ext uri="{FF2B5EF4-FFF2-40B4-BE49-F238E27FC236}">
                <a16:creationId xmlns:a16="http://schemas.microsoft.com/office/drawing/2014/main" id="{3BBE9FBF-8928-424C-80E1-9648F8F90D58}"/>
              </a:ext>
            </a:extLst>
          </p:cNvPr>
          <p:cNvSpPr>
            <a:spLocks noGrp="1"/>
          </p:cNvSpPr>
          <p:nvPr>
            <p:ph idx="18" hasCustomPrompt="1"/>
          </p:nvPr>
        </p:nvSpPr>
        <p:spPr bwMode="gray">
          <a:xfrm>
            <a:off x="4600800" y="1512000"/>
            <a:ext cx="7048800" cy="469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66700" indent="-266700">
              <a:buFont typeface="+mj-lt"/>
              <a:buAutoNum type="arabicPeriod"/>
              <a:defRPr/>
            </a:lvl1pPr>
            <a:lvl2pPr marL="541338" indent="-274638">
              <a:buFont typeface="+mj-lt"/>
              <a:buAutoNum type="arabicPeriod"/>
              <a:defRPr/>
            </a:lvl2pPr>
            <a:lvl3pPr>
              <a:buSzPct val="100000"/>
              <a:buFont typeface="+mj-lt"/>
              <a:buAutoNum type="arabicPeriod"/>
              <a:defRPr/>
            </a:lvl3pPr>
            <a:lvl4pPr>
              <a:buFont typeface="+mj-lt"/>
              <a:buAutoNum type="arabicPeriod"/>
              <a:defRPr/>
            </a:lvl4pPr>
            <a:lvl5pPr>
              <a:buFont typeface="+mj-lt"/>
              <a:buAutoNum type="arabicPeriod"/>
              <a:defRPr/>
            </a:lvl5pPr>
          </a:lstStyle>
          <a:p>
            <a:pPr lvl="0"/>
            <a:r>
              <a:rPr lang="de-DE" noProof="0"/>
              <a:t>Erste Ebene</a:t>
            </a:r>
          </a:p>
          <a:p>
            <a:pPr lvl="1"/>
            <a:r>
              <a:rPr lang="de-DE" noProof="0"/>
              <a:t>Zweite Ebene</a:t>
            </a:r>
          </a:p>
          <a:p>
            <a:pPr lvl="1"/>
            <a:r>
              <a:rPr lang="de-DE" noProof="0"/>
              <a:t>Zweite Ebene</a:t>
            </a:r>
          </a:p>
          <a:p>
            <a:pPr lvl="0"/>
            <a:r>
              <a:rPr lang="de-DE" noProof="0"/>
              <a:t>Erste Ebene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2"/>
            <a:r>
              <a:rPr lang="de-DE" noProof="0"/>
              <a:t>Dritte Ebene</a:t>
            </a:r>
          </a:p>
          <a:p>
            <a:pPr lvl="1"/>
            <a:r>
              <a:rPr lang="de-DE" noProof="0"/>
              <a:t>Zweite Ebene</a:t>
            </a:r>
          </a:p>
          <a:p>
            <a:pPr lvl="1"/>
            <a:r>
              <a:rPr lang="de-DE" noProof="0"/>
              <a:t>Zweite Ebene</a:t>
            </a:r>
          </a:p>
          <a:p>
            <a:pPr lvl="0"/>
            <a:r>
              <a:rPr lang="de-DE" noProof="0"/>
              <a:t>Erste Ebene</a:t>
            </a:r>
          </a:p>
        </p:txBody>
      </p:sp>
      <p:sp>
        <p:nvSpPr>
          <p:cNvPr id="3" name="Titel">
            <a:extLst>
              <a:ext uri="{FF2B5EF4-FFF2-40B4-BE49-F238E27FC236}">
                <a16:creationId xmlns:a16="http://schemas.microsoft.com/office/drawing/2014/main" id="{BB3F0F53-77A8-431F-89F8-EA27B0DC888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600800" y="432000"/>
            <a:ext cx="7048800" cy="792000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de-DE" sz="2400" b="1" cap="none" baseline="0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lang="de-DE" sz="1800" dirty="0" smtClean="0">
                <a:solidFill>
                  <a:schemeClr val="tx1"/>
                </a:solidFill>
              </a:defRPr>
            </a:lvl2pPr>
            <a:lvl3pPr>
              <a:defRPr lang="de-DE" sz="1800" dirty="0" smtClean="0">
                <a:solidFill>
                  <a:schemeClr val="tx1"/>
                </a:solidFill>
              </a:defRPr>
            </a:lvl3pPr>
            <a:lvl4pPr>
              <a:defRPr lang="de-DE" sz="1800" dirty="0" smtClean="0">
                <a:solidFill>
                  <a:schemeClr val="tx1"/>
                </a:solidFill>
              </a:defRPr>
            </a:lvl4pPr>
            <a:lvl5pPr>
              <a:defRPr lang="en-US" sz="1800" dirty="0">
                <a:solidFill>
                  <a:schemeClr val="tx1"/>
                </a:solidFill>
              </a:defRPr>
            </a:lvl5pPr>
          </a:lstStyle>
          <a:p>
            <a:pPr marL="187200" lvl="0" indent="-457200">
              <a:spcBef>
                <a:spcPct val="0"/>
              </a:spcBef>
            </a:pPr>
            <a:r>
              <a:rPr lang="de-DE"/>
              <a:t>Titelmaster bearbeiten</a:t>
            </a:r>
            <a:endParaRPr lang="en-US"/>
          </a:p>
        </p:txBody>
      </p:sp>
      <p:sp>
        <p:nvSpPr>
          <p:cNvPr id="8" name="Untertitel">
            <a:extLst>
              <a:ext uri="{FF2B5EF4-FFF2-40B4-BE49-F238E27FC236}">
                <a16:creationId xmlns:a16="http://schemas.microsoft.com/office/drawing/2014/main" id="{C918EBB1-7D18-49A6-ACE2-D2391E52814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00800" y="828000"/>
            <a:ext cx="7048800" cy="396000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de-DE" sz="2000" b="1" baseline="0" noProof="0" dirty="0">
                <a:solidFill>
                  <a:schemeClr val="accent1"/>
                </a:solidFill>
              </a:defRPr>
            </a:lvl1pPr>
          </a:lstStyle>
          <a:p>
            <a:pPr marL="270000" lvl="0" indent="-270000"/>
            <a:r>
              <a:rPr lang="de-DE" noProof="0"/>
              <a:t>Geben Sie Ihren Untertitel ein</a:t>
            </a:r>
          </a:p>
        </p:txBody>
      </p:sp>
    </p:spTree>
    <p:extLst>
      <p:ext uri="{BB962C8B-B14F-4D97-AF65-F5344CB8AC3E}">
        <p14:creationId xmlns:p14="http://schemas.microsoft.com/office/powerpoint/2010/main" val="1103545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&amp; INHALT |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"/>
          <p:cNvSpPr>
            <a:spLocks noGrp="1"/>
          </p:cNvSpPr>
          <p:nvPr>
            <p:ph idx="1"/>
          </p:nvPr>
        </p:nvSpPr>
        <p:spPr bwMode="gray">
          <a:xfrm>
            <a:off x="540000" y="1512000"/>
            <a:ext cx="11109600" cy="4698000"/>
          </a:xfrm>
          <a:noFill/>
        </p:spPr>
        <p:txBody>
          <a:bodyPr vert="horz" lIns="0" tIns="0" rIns="0" bIns="0" rtlCol="0">
            <a:noAutofit/>
          </a:bodyPr>
          <a:lstStyle>
            <a:lvl1pPr>
              <a:defRPr lang="de-DE" noProof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lang="de-DE" noProof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lang="de-DE" noProof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lang="de-DE" noProof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lang="de-DE" noProof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2" name="Titel"/>
          <p:cNvSpPr>
            <a:spLocks noGrp="1"/>
          </p:cNvSpPr>
          <p:nvPr>
            <p:ph type="title"/>
          </p:nvPr>
        </p:nvSpPr>
        <p:spPr bwMode="gray">
          <a:xfrm>
            <a:off x="540000" y="432000"/>
            <a:ext cx="11109600" cy="792000"/>
          </a:xfrm>
        </p:spPr>
        <p:txBody>
          <a:bodyPr/>
          <a:lstStyle>
            <a:lvl1pPr>
              <a:defRPr cap="none" baseline="0"/>
            </a:lvl1pPr>
          </a:lstStyle>
          <a:p>
            <a:r>
              <a:rPr lang="de-DE" noProof="0"/>
              <a:t>Titelmasterformat durch Klicken bearbeiten</a:t>
            </a:r>
          </a:p>
        </p:txBody>
      </p:sp>
      <p:sp>
        <p:nvSpPr>
          <p:cNvPr id="13" name="Untertitel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40000" y="828000"/>
            <a:ext cx="11109600" cy="396000"/>
          </a:xfrm>
        </p:spPr>
        <p:txBody>
          <a:bodyPr/>
          <a:lstStyle>
            <a:lvl1pPr marL="0" indent="0">
              <a:buNone/>
              <a:defRPr sz="2000" b="1" baseline="0">
                <a:solidFill>
                  <a:schemeClr val="accent1"/>
                </a:solidFill>
              </a:defRPr>
            </a:lvl1pPr>
          </a:lstStyle>
          <a:p>
            <a:r>
              <a:rPr lang="de-DE" noProof="0"/>
              <a:t>Geben Sie Ihren Untertitel ein</a:t>
            </a:r>
          </a:p>
        </p:txBody>
      </p:sp>
      <p:sp>
        <p:nvSpPr>
          <p:cNvPr id="8" name="Fußzeilenplatzhalter">
            <a:extLst>
              <a:ext uri="{FF2B5EF4-FFF2-40B4-BE49-F238E27FC236}">
                <a16:creationId xmlns:a16="http://schemas.microsoft.com/office/drawing/2014/main" id="{E9E53ED8-DFFC-4800-B51D-A80A55AB079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1126674" y="6390000"/>
            <a:ext cx="496853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e-DE"/>
              <a:t>© Heinz Nixdorf Institut / Fraunhofer IEM</a:t>
            </a:r>
          </a:p>
        </p:txBody>
      </p:sp>
      <p:sp>
        <p:nvSpPr>
          <p:cNvPr id="10" name="Strich">
            <a:extLst>
              <a:ext uri="{FF2B5EF4-FFF2-40B4-BE49-F238E27FC236}">
                <a16:creationId xmlns:a16="http://schemas.microsoft.com/office/drawing/2014/main" id="{FE6C064B-FB19-40CD-92AC-F58250D4858C}"/>
              </a:ext>
            </a:extLst>
          </p:cNvPr>
          <p:cNvSpPr>
            <a:spLocks noGrp="1"/>
          </p:cNvSpPr>
          <p:nvPr>
            <p:ph sz="quarter" idx="38" hasCustomPrompt="1"/>
          </p:nvPr>
        </p:nvSpPr>
        <p:spPr bwMode="gray">
          <a:xfrm>
            <a:off x="941337" y="6426000"/>
            <a:ext cx="10800" cy="216000"/>
          </a:xfrm>
          <a:solidFill>
            <a:schemeClr val="tx1">
              <a:lumMod val="75000"/>
              <a:lumOff val="25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  <a:lvl2pPr marL="266700" indent="0">
              <a:buNone/>
              <a:defRPr/>
            </a:lvl2pPr>
            <a:lvl3pPr marL="542925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9" name="Foliennummernplatzhalter">
            <a:extLst>
              <a:ext uri="{FF2B5EF4-FFF2-40B4-BE49-F238E27FC236}">
                <a16:creationId xmlns:a16="http://schemas.microsoft.com/office/drawing/2014/main" id="{71B033C8-445B-4326-A710-91F6A9FDFFC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40000" y="6390000"/>
            <a:ext cx="22680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65685BD5-7F70-499C-8F04-1460C72EE5D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672948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7"/>
          <p:cNvSpPr>
            <a:spLocks noChangeShapeType="1"/>
          </p:cNvSpPr>
          <p:nvPr userDrawn="1"/>
        </p:nvSpPr>
        <p:spPr bwMode="auto">
          <a:xfrm flipV="1">
            <a:off x="575925" y="404580"/>
            <a:ext cx="11036225" cy="0"/>
          </a:xfrm>
          <a:prstGeom prst="line">
            <a:avLst/>
          </a:prstGeom>
          <a:noFill/>
          <a:ln w="5080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800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78263" y="1773238"/>
            <a:ext cx="11021384" cy="647622"/>
          </a:xfrm>
        </p:spPr>
        <p:txBody>
          <a:bodyPr/>
          <a:lstStyle>
            <a:lvl1pPr marL="0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noProof="0"/>
              <a:t>Formatvorlage des Untertitelmasters durch Klicken bearbeiten</a:t>
            </a:r>
          </a:p>
        </p:txBody>
      </p:sp>
      <p:sp>
        <p:nvSpPr>
          <p:cNvPr id="5" name="Bildplatzhalter 2"/>
          <p:cNvSpPr>
            <a:spLocks noGrp="1"/>
          </p:cNvSpPr>
          <p:nvPr>
            <p:ph type="pic" sz="quarter" idx="10"/>
          </p:nvPr>
        </p:nvSpPr>
        <p:spPr>
          <a:xfrm>
            <a:off x="578263" y="2636890"/>
            <a:ext cx="11021384" cy="3384470"/>
          </a:xfr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78263" y="476823"/>
            <a:ext cx="11021384" cy="1008140"/>
          </a:xfrm>
          <a:noFill/>
        </p:spPr>
        <p:txBody>
          <a:bodyPr/>
          <a:lstStyle>
            <a:lvl1pPr marL="0" indent="0">
              <a:defRPr sz="320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noProof="0"/>
              <a:t>Titelmasterformat durch Klicken bearbeiten</a:t>
            </a:r>
          </a:p>
        </p:txBody>
      </p:sp>
      <p:sp>
        <p:nvSpPr>
          <p:cNvPr id="9" name="Line 7"/>
          <p:cNvSpPr>
            <a:spLocks noChangeShapeType="1"/>
          </p:cNvSpPr>
          <p:nvPr userDrawn="1"/>
        </p:nvSpPr>
        <p:spPr bwMode="auto">
          <a:xfrm flipV="1">
            <a:off x="575925" y="2492870"/>
            <a:ext cx="11036225" cy="0"/>
          </a:xfrm>
          <a:prstGeom prst="line">
            <a:avLst/>
          </a:prstGeom>
          <a:noFill/>
          <a:ln w="1270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800"/>
          </a:p>
        </p:txBody>
      </p:sp>
    </p:spTree>
    <p:extLst>
      <p:ext uri="{BB962C8B-B14F-4D97-AF65-F5344CB8AC3E}">
        <p14:creationId xmlns:p14="http://schemas.microsoft.com/office/powerpoint/2010/main" val="331090484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&amp; INHALT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ußzeilenplatzhalter">
            <a:extLst>
              <a:ext uri="{FF2B5EF4-FFF2-40B4-BE49-F238E27FC236}">
                <a16:creationId xmlns:a16="http://schemas.microsoft.com/office/drawing/2014/main" id="{C3A2E3F9-94A6-4263-A03C-FFC5A9491B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1126674" y="6390000"/>
            <a:ext cx="496853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e-DE"/>
              <a:t>© Heinz Nixdorf Institut / Fraunhofer IEM</a:t>
            </a:r>
          </a:p>
        </p:txBody>
      </p:sp>
      <p:sp>
        <p:nvSpPr>
          <p:cNvPr id="10" name="Strich">
            <a:extLst>
              <a:ext uri="{FF2B5EF4-FFF2-40B4-BE49-F238E27FC236}">
                <a16:creationId xmlns:a16="http://schemas.microsoft.com/office/drawing/2014/main" id="{1F2C0F1D-2EFF-45F4-B8D7-4E828E4F16F2}"/>
              </a:ext>
            </a:extLst>
          </p:cNvPr>
          <p:cNvSpPr>
            <a:spLocks noGrp="1"/>
          </p:cNvSpPr>
          <p:nvPr>
            <p:ph sz="quarter" idx="38" hasCustomPrompt="1"/>
          </p:nvPr>
        </p:nvSpPr>
        <p:spPr bwMode="gray">
          <a:xfrm>
            <a:off x="941337" y="6426000"/>
            <a:ext cx="10800" cy="216000"/>
          </a:xfrm>
          <a:solidFill>
            <a:schemeClr val="tx1">
              <a:lumMod val="75000"/>
              <a:lumOff val="25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  <a:lvl2pPr marL="266700" indent="0">
              <a:buNone/>
              <a:defRPr/>
            </a:lvl2pPr>
            <a:lvl3pPr marL="542925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9" name="Foliennummernplatzhalter">
            <a:extLst>
              <a:ext uri="{FF2B5EF4-FFF2-40B4-BE49-F238E27FC236}">
                <a16:creationId xmlns:a16="http://schemas.microsoft.com/office/drawing/2014/main" id="{6E348890-E212-4EAE-8C01-653346AA785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40000" y="6390000"/>
            <a:ext cx="22680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65685BD5-7F70-499C-8F04-1460C72EE5D6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3" name="Inhalt 1"/>
          <p:cNvSpPr>
            <a:spLocks noGrp="1"/>
          </p:cNvSpPr>
          <p:nvPr>
            <p:ph idx="1"/>
          </p:nvPr>
        </p:nvSpPr>
        <p:spPr bwMode="gray">
          <a:xfrm>
            <a:off x="540000" y="1511998"/>
            <a:ext cx="5418628" cy="4698000"/>
          </a:xfrm>
        </p:spPr>
        <p:txBody>
          <a:bodyPr vert="horz" lIns="0" tIns="0" rIns="0" bIns="0" rtlCol="0">
            <a:noAutofit/>
          </a:bodyPr>
          <a:lstStyle>
            <a:lvl1pPr>
              <a:defRPr lang="de-DE" noProof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lang="de-DE" noProof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lang="de-DE" noProof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lang="de-DE" noProof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lang="de-DE" noProof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29" name="Inhalt 2">
            <a:extLst>
              <a:ext uri="{FF2B5EF4-FFF2-40B4-BE49-F238E27FC236}">
                <a16:creationId xmlns:a16="http://schemas.microsoft.com/office/drawing/2014/main" id="{09B533AF-2BDA-4A5C-AE82-C38C644CE4ED}"/>
              </a:ext>
            </a:extLst>
          </p:cNvPr>
          <p:cNvSpPr>
            <a:spLocks noGrp="1"/>
          </p:cNvSpPr>
          <p:nvPr>
            <p:ph idx="14"/>
          </p:nvPr>
        </p:nvSpPr>
        <p:spPr bwMode="gray">
          <a:xfrm>
            <a:off x="6230972" y="1511998"/>
            <a:ext cx="5418628" cy="4698000"/>
          </a:xfrm>
        </p:spPr>
        <p:txBody>
          <a:bodyPr vert="horz" lIns="0" tIns="0" rIns="0" bIns="0" rtlCol="0">
            <a:noAutofit/>
          </a:bodyPr>
          <a:lstStyle>
            <a:lvl1pPr>
              <a:defRPr lang="de-DE" noProof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lang="de-DE" noProof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lang="de-DE" noProof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lang="de-DE" noProof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lang="de-DE" noProof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96" name="Titel">
            <a:extLst>
              <a:ext uri="{FF2B5EF4-FFF2-40B4-BE49-F238E27FC236}">
                <a16:creationId xmlns:a16="http://schemas.microsoft.com/office/drawing/2014/main" id="{E0516881-477A-463F-89BA-1887931AF42A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40000" y="432000"/>
            <a:ext cx="11109600" cy="792000"/>
          </a:xfrm>
        </p:spPr>
        <p:txBody>
          <a:bodyPr/>
          <a:lstStyle>
            <a:lvl1pPr>
              <a:defRPr cap="none" baseline="0"/>
            </a:lvl1pPr>
          </a:lstStyle>
          <a:p>
            <a:r>
              <a:rPr lang="de-DE" noProof="0"/>
              <a:t>Titelmasterformat durch Klicken bearbeiten</a:t>
            </a:r>
          </a:p>
        </p:txBody>
      </p:sp>
      <p:sp>
        <p:nvSpPr>
          <p:cNvPr id="97" name="Untertitel">
            <a:extLst>
              <a:ext uri="{FF2B5EF4-FFF2-40B4-BE49-F238E27FC236}">
                <a16:creationId xmlns:a16="http://schemas.microsoft.com/office/drawing/2014/main" id="{EABCEB38-9008-42CB-9746-5CF87217D21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40000" y="828000"/>
            <a:ext cx="11109600" cy="396000"/>
          </a:xfrm>
        </p:spPr>
        <p:txBody>
          <a:bodyPr/>
          <a:lstStyle>
            <a:lvl1pPr marL="0" indent="0">
              <a:buNone/>
              <a:defRPr sz="2000" b="1" baseline="0">
                <a:solidFill>
                  <a:schemeClr val="accent1"/>
                </a:solidFill>
              </a:defRPr>
            </a:lvl1pPr>
          </a:lstStyle>
          <a:p>
            <a:r>
              <a:rPr lang="de-DE" noProof="0"/>
              <a:t>Geben Sie Ihren Untertitel ein</a:t>
            </a:r>
          </a:p>
        </p:txBody>
      </p:sp>
    </p:spTree>
    <p:extLst>
      <p:ext uri="{BB962C8B-B14F-4D97-AF65-F5344CB8AC3E}">
        <p14:creationId xmlns:p14="http://schemas.microsoft.com/office/powerpoint/2010/main" val="1735859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&amp; INHALT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ußzeilenplatzhalter">
            <a:extLst>
              <a:ext uri="{FF2B5EF4-FFF2-40B4-BE49-F238E27FC236}">
                <a16:creationId xmlns:a16="http://schemas.microsoft.com/office/drawing/2014/main" id="{575BE160-BCA9-45A9-B056-8F3178EBD9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1126674" y="6390005"/>
            <a:ext cx="4113213" cy="288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>
              <a:defRPr lang="de-DE" sz="100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e-DE"/>
              <a:t>© Heinz Nixdorf Institut / Fraunhofer IEM</a:t>
            </a:r>
          </a:p>
        </p:txBody>
      </p:sp>
      <p:sp>
        <p:nvSpPr>
          <p:cNvPr id="9" name="Strich">
            <a:extLst>
              <a:ext uri="{FF2B5EF4-FFF2-40B4-BE49-F238E27FC236}">
                <a16:creationId xmlns:a16="http://schemas.microsoft.com/office/drawing/2014/main" id="{FF70B716-BD70-439C-A18F-86498C438BED}"/>
              </a:ext>
            </a:extLst>
          </p:cNvPr>
          <p:cNvSpPr>
            <a:spLocks noGrp="1"/>
          </p:cNvSpPr>
          <p:nvPr>
            <p:ph sz="quarter" idx="38" hasCustomPrompt="1"/>
          </p:nvPr>
        </p:nvSpPr>
        <p:spPr bwMode="gray">
          <a:xfrm>
            <a:off x="941337" y="6426000"/>
            <a:ext cx="10800" cy="216000"/>
          </a:xfrm>
          <a:solidFill>
            <a:schemeClr val="tx1">
              <a:lumMod val="75000"/>
              <a:lumOff val="25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  <a:lvl2pPr marL="266700" indent="0">
              <a:buNone/>
              <a:defRPr/>
            </a:lvl2pPr>
            <a:lvl3pPr marL="542925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8" name="Foliennummernplatzhalter">
            <a:extLst>
              <a:ext uri="{FF2B5EF4-FFF2-40B4-BE49-F238E27FC236}">
                <a16:creationId xmlns:a16="http://schemas.microsoft.com/office/drawing/2014/main" id="{DD9B3014-E2DA-44CF-AAB0-B10633B2947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40000" y="6390005"/>
            <a:ext cx="226800" cy="288000"/>
          </a:xfrm>
          <a:prstGeom prst="rect">
            <a:avLst/>
          </a:prstGeom>
          <a:ln w="12700" cap="sq">
            <a:noFill/>
            <a:miter lim="800000"/>
          </a:ln>
        </p:spPr>
        <p:txBody>
          <a:bodyPr vert="horz" lIns="0" tIns="0" rIns="0" bIns="0" rtlCol="0" anchor="ctr" anchorCtr="0"/>
          <a:lstStyle>
            <a:lvl1pPr>
              <a:defRPr lang="de-DE" sz="160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2FC27D00-ED81-4BE6-8C39-1CA64B67F9D6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0" name="Inhalt 1">
            <a:extLst>
              <a:ext uri="{FF2B5EF4-FFF2-40B4-BE49-F238E27FC236}">
                <a16:creationId xmlns:a16="http://schemas.microsoft.com/office/drawing/2014/main" id="{ABE3C2FF-24B5-41C9-BE15-E7731BA4E93F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540000" y="1512000"/>
            <a:ext cx="3520825" cy="4698000"/>
          </a:xfrm>
        </p:spPr>
        <p:txBody>
          <a:bodyPr vert="horz" lIns="0" tIns="0" rIns="0" bIns="0" rtlCol="0">
            <a:noAutofit/>
          </a:bodyPr>
          <a:lstStyle>
            <a:lvl1pPr>
              <a:defRPr lang="de-DE" noProof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lang="de-DE" noProof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lang="de-DE" noProof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lang="de-DE" noProof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lang="de-DE" noProof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21" name="Inhalt 2">
            <a:extLst>
              <a:ext uri="{FF2B5EF4-FFF2-40B4-BE49-F238E27FC236}">
                <a16:creationId xmlns:a16="http://schemas.microsoft.com/office/drawing/2014/main" id="{CE1F291D-9D37-4930-A464-37BD1E114E6B}"/>
              </a:ext>
            </a:extLst>
          </p:cNvPr>
          <p:cNvSpPr>
            <a:spLocks noGrp="1"/>
          </p:cNvSpPr>
          <p:nvPr>
            <p:ph idx="14"/>
          </p:nvPr>
        </p:nvSpPr>
        <p:spPr bwMode="gray">
          <a:xfrm>
            <a:off x="4334794" y="1512000"/>
            <a:ext cx="3520825" cy="4698000"/>
          </a:xfrm>
        </p:spPr>
        <p:txBody>
          <a:bodyPr vert="horz" lIns="0" tIns="0" rIns="0" bIns="0" rtlCol="0">
            <a:noAutofit/>
          </a:bodyPr>
          <a:lstStyle>
            <a:lvl1pPr>
              <a:defRPr lang="de-DE" noProof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lang="de-DE" noProof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lang="de-DE" noProof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lang="de-DE" noProof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lang="de-DE" noProof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22" name="Inhalt 3">
            <a:extLst>
              <a:ext uri="{FF2B5EF4-FFF2-40B4-BE49-F238E27FC236}">
                <a16:creationId xmlns:a16="http://schemas.microsoft.com/office/drawing/2014/main" id="{D1E79B91-E676-4B3B-B5BC-254F50062A62}"/>
              </a:ext>
            </a:extLst>
          </p:cNvPr>
          <p:cNvSpPr>
            <a:spLocks noGrp="1"/>
          </p:cNvSpPr>
          <p:nvPr>
            <p:ph idx="15"/>
          </p:nvPr>
        </p:nvSpPr>
        <p:spPr bwMode="gray">
          <a:xfrm>
            <a:off x="8128775" y="1512000"/>
            <a:ext cx="3520825" cy="4698000"/>
          </a:xfrm>
        </p:spPr>
        <p:txBody>
          <a:bodyPr vert="horz" lIns="0" tIns="0" rIns="0" bIns="0" rtlCol="0">
            <a:noAutofit/>
          </a:bodyPr>
          <a:lstStyle>
            <a:lvl1pPr>
              <a:defRPr lang="de-DE" noProof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lang="de-DE" noProof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lang="de-DE" noProof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lang="de-DE" noProof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lang="de-DE" noProof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96" name="Titel">
            <a:extLst>
              <a:ext uri="{FF2B5EF4-FFF2-40B4-BE49-F238E27FC236}">
                <a16:creationId xmlns:a16="http://schemas.microsoft.com/office/drawing/2014/main" id="{31958E4D-2EE4-4B39-916C-1664FFAFB492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40000" y="432000"/>
            <a:ext cx="11109600" cy="792000"/>
          </a:xfrm>
        </p:spPr>
        <p:txBody>
          <a:bodyPr/>
          <a:lstStyle>
            <a:lvl1pPr>
              <a:defRPr cap="none" baseline="0"/>
            </a:lvl1pPr>
          </a:lstStyle>
          <a:p>
            <a:r>
              <a:rPr lang="de-DE" noProof="0"/>
              <a:t>Titelmasterformat durch Klicken bearbeiten</a:t>
            </a:r>
          </a:p>
        </p:txBody>
      </p:sp>
      <p:sp>
        <p:nvSpPr>
          <p:cNvPr id="97" name="Untertitel">
            <a:extLst>
              <a:ext uri="{FF2B5EF4-FFF2-40B4-BE49-F238E27FC236}">
                <a16:creationId xmlns:a16="http://schemas.microsoft.com/office/drawing/2014/main" id="{D3E43702-891F-4ADF-A3D0-4D2E6579696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40000" y="828000"/>
            <a:ext cx="11109600" cy="396000"/>
          </a:xfrm>
        </p:spPr>
        <p:txBody>
          <a:bodyPr/>
          <a:lstStyle>
            <a:lvl1pPr marL="0" indent="0">
              <a:buNone/>
              <a:defRPr sz="2000" b="1" baseline="0">
                <a:solidFill>
                  <a:schemeClr val="accent1"/>
                </a:solidFill>
              </a:defRPr>
            </a:lvl1pPr>
          </a:lstStyle>
          <a:p>
            <a:r>
              <a:rPr lang="de-DE" noProof="0"/>
              <a:t>Geben Sie Ihren Untertitel ein</a:t>
            </a:r>
          </a:p>
        </p:txBody>
      </p:sp>
    </p:spTree>
    <p:extLst>
      <p:ext uri="{BB962C8B-B14F-4D97-AF65-F5344CB8AC3E}">
        <p14:creationId xmlns:p14="http://schemas.microsoft.com/office/powerpoint/2010/main" val="443649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&amp; INHALT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ußzeilenplatzhalter">
            <a:extLst>
              <a:ext uri="{FF2B5EF4-FFF2-40B4-BE49-F238E27FC236}">
                <a16:creationId xmlns:a16="http://schemas.microsoft.com/office/drawing/2014/main" id="{3A649DAF-53CC-4DD5-8C90-28A770E7F9D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1126674" y="6390000"/>
            <a:ext cx="496853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e-DE"/>
              <a:t>© Heinz Nixdorf Institut / Fraunhofer IEM</a:t>
            </a:r>
          </a:p>
        </p:txBody>
      </p:sp>
      <p:sp>
        <p:nvSpPr>
          <p:cNvPr id="10" name="Strich">
            <a:extLst>
              <a:ext uri="{FF2B5EF4-FFF2-40B4-BE49-F238E27FC236}">
                <a16:creationId xmlns:a16="http://schemas.microsoft.com/office/drawing/2014/main" id="{72368399-9064-413F-87D6-D7A5F3FA7130}"/>
              </a:ext>
            </a:extLst>
          </p:cNvPr>
          <p:cNvSpPr>
            <a:spLocks noGrp="1"/>
          </p:cNvSpPr>
          <p:nvPr>
            <p:ph sz="quarter" idx="38" hasCustomPrompt="1"/>
          </p:nvPr>
        </p:nvSpPr>
        <p:spPr bwMode="gray">
          <a:xfrm>
            <a:off x="941337" y="6426000"/>
            <a:ext cx="10800" cy="216000"/>
          </a:xfrm>
          <a:solidFill>
            <a:schemeClr val="tx1">
              <a:lumMod val="75000"/>
              <a:lumOff val="25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  <a:lvl2pPr marL="266700" indent="0">
              <a:buNone/>
              <a:defRPr/>
            </a:lvl2pPr>
            <a:lvl3pPr marL="542925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9" name="Foliennummernplatzhalter">
            <a:extLst>
              <a:ext uri="{FF2B5EF4-FFF2-40B4-BE49-F238E27FC236}">
                <a16:creationId xmlns:a16="http://schemas.microsoft.com/office/drawing/2014/main" id="{38CD5B68-4AF5-412F-BBBA-45CD20A3C26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40000" y="6390000"/>
            <a:ext cx="22680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65685BD5-7F70-499C-8F04-1460C72EE5D6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0" name="Inhalt 1">
            <a:extLst>
              <a:ext uri="{FF2B5EF4-FFF2-40B4-BE49-F238E27FC236}">
                <a16:creationId xmlns:a16="http://schemas.microsoft.com/office/drawing/2014/main" id="{ABE3C2FF-24B5-41C9-BE15-E7731BA4E93F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539999" y="1512000"/>
            <a:ext cx="5418000" cy="4698000"/>
          </a:xfrm>
          <a:ln w="38100">
            <a:gradFill flip="none" rotWithShape="1">
              <a:gsLst>
                <a:gs pos="5000">
                  <a:schemeClr val="tx2"/>
                </a:gs>
                <a:gs pos="80000">
                  <a:schemeClr val="accent1"/>
                </a:gs>
              </a:gsLst>
              <a:lin ang="2400000" scaled="0"/>
              <a:tileRect/>
            </a:gradFill>
            <a:miter lim="800000"/>
          </a:ln>
        </p:spPr>
        <p:txBody>
          <a:bodyPr vert="horz" lIns="360000" tIns="360000" rIns="360000" bIns="360000" rtlCol="0">
            <a:noAutofit/>
          </a:bodyPr>
          <a:lstStyle>
            <a:lvl1pPr>
              <a:defRPr lang="de-DE" noProof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lang="de-DE" noProof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lang="de-DE" noProof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lang="de-DE" noProof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lang="de-DE" noProof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21" name="Inhalt 2">
            <a:extLst>
              <a:ext uri="{FF2B5EF4-FFF2-40B4-BE49-F238E27FC236}">
                <a16:creationId xmlns:a16="http://schemas.microsoft.com/office/drawing/2014/main" id="{CE1F291D-9D37-4930-A464-37BD1E114E6B}"/>
              </a:ext>
            </a:extLst>
          </p:cNvPr>
          <p:cNvSpPr>
            <a:spLocks noGrp="1"/>
          </p:cNvSpPr>
          <p:nvPr>
            <p:ph idx="14"/>
          </p:nvPr>
        </p:nvSpPr>
        <p:spPr bwMode="gray">
          <a:xfrm>
            <a:off x="6230973" y="1512000"/>
            <a:ext cx="5418628" cy="4698000"/>
          </a:xfrm>
        </p:spPr>
        <p:txBody>
          <a:bodyPr vert="horz" lIns="0" tIns="0" rIns="0" bIns="0" rtlCol="0">
            <a:noAutofit/>
          </a:bodyPr>
          <a:lstStyle>
            <a:lvl1pPr>
              <a:defRPr lang="de-DE" noProof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lang="de-DE" noProof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lang="de-DE" noProof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lang="de-DE" noProof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lang="de-DE" noProof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96" name="Titel">
            <a:extLst>
              <a:ext uri="{FF2B5EF4-FFF2-40B4-BE49-F238E27FC236}">
                <a16:creationId xmlns:a16="http://schemas.microsoft.com/office/drawing/2014/main" id="{31958E4D-2EE4-4B39-916C-1664FFAFB492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40000" y="432000"/>
            <a:ext cx="11109600" cy="792000"/>
          </a:xfrm>
        </p:spPr>
        <p:txBody>
          <a:bodyPr/>
          <a:lstStyle>
            <a:lvl1pPr>
              <a:defRPr cap="none" baseline="0"/>
            </a:lvl1pPr>
          </a:lstStyle>
          <a:p>
            <a:r>
              <a:rPr lang="de-DE" noProof="0"/>
              <a:t>Titelmasterformat durch Klicken bearbeiten</a:t>
            </a:r>
          </a:p>
        </p:txBody>
      </p:sp>
      <p:sp>
        <p:nvSpPr>
          <p:cNvPr id="97" name="Untertitel">
            <a:extLst>
              <a:ext uri="{FF2B5EF4-FFF2-40B4-BE49-F238E27FC236}">
                <a16:creationId xmlns:a16="http://schemas.microsoft.com/office/drawing/2014/main" id="{D3E43702-891F-4ADF-A3D0-4D2E6579696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40000" y="828000"/>
            <a:ext cx="11109600" cy="396000"/>
          </a:xfrm>
        </p:spPr>
        <p:txBody>
          <a:bodyPr/>
          <a:lstStyle>
            <a:lvl1pPr marL="0" indent="0">
              <a:buNone/>
              <a:defRPr sz="2000" b="1" baseline="0">
                <a:solidFill>
                  <a:schemeClr val="accent1"/>
                </a:solidFill>
              </a:defRPr>
            </a:lvl1pPr>
          </a:lstStyle>
          <a:p>
            <a:r>
              <a:rPr lang="de-DE" noProof="0"/>
              <a:t>Geben Sie Ihren Untertitel ein</a:t>
            </a:r>
          </a:p>
        </p:txBody>
      </p:sp>
    </p:spTree>
    <p:extLst>
      <p:ext uri="{BB962C8B-B14F-4D97-AF65-F5344CB8AC3E}">
        <p14:creationId xmlns:p14="http://schemas.microsoft.com/office/powerpoint/2010/main" val="25957704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&amp;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">
            <a:extLst>
              <a:ext uri="{FF2B5EF4-FFF2-40B4-BE49-F238E27FC236}">
                <a16:creationId xmlns:a16="http://schemas.microsoft.com/office/drawing/2014/main" id="{00809997-D71A-47FF-AED9-FB350BF37DAD}"/>
              </a:ext>
            </a:extLst>
          </p:cNvPr>
          <p:cNvSpPr>
            <a:spLocks noGrp="1" noChangeAspect="1"/>
          </p:cNvSpPr>
          <p:nvPr>
            <p:ph type="pic" sz="quarter" idx="17"/>
          </p:nvPr>
        </p:nvSpPr>
        <p:spPr bwMode="gray">
          <a:xfrm>
            <a:off x="0" y="0"/>
            <a:ext cx="12190413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9" name="Layer">
            <a:extLst>
              <a:ext uri="{FF2B5EF4-FFF2-40B4-BE49-F238E27FC236}">
                <a16:creationId xmlns:a16="http://schemas.microsoft.com/office/drawing/2014/main" id="{1C3CBB73-E8B6-4BA9-9E63-E3AA23D8D416}"/>
              </a:ext>
            </a:extLst>
          </p:cNvPr>
          <p:cNvSpPr>
            <a:spLocks noGrp="1" noChangeAspect="1"/>
          </p:cNvSpPr>
          <p:nvPr>
            <p:ph type="body" sz="quarter" idx="21" hasCustomPrompt="1"/>
          </p:nvPr>
        </p:nvSpPr>
        <p:spPr bwMode="gray">
          <a:xfrm>
            <a:off x="0" y="0"/>
            <a:ext cx="12190413" cy="6858000"/>
          </a:xfrm>
          <a:gradFill flip="none" rotWithShape="1">
            <a:gsLst>
              <a:gs pos="80000">
                <a:schemeClr val="accent1">
                  <a:alpha val="80000"/>
                </a:schemeClr>
              </a:gs>
              <a:gs pos="5000">
                <a:schemeClr val="tx2">
                  <a:alpha val="80000"/>
                </a:schemeClr>
              </a:gs>
            </a:gsLst>
            <a:lin ang="2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de-DE" b="1" cap="none" baseline="0" noProof="0" dirty="0"/>
            </a:lvl1pPr>
          </a:lstStyle>
          <a:p>
            <a:pPr marL="270000" lvl="0" indent="-270000" algn="ctr">
              <a:buClr>
                <a:schemeClr val="accent1"/>
              </a:buClr>
            </a:pPr>
            <a:r>
              <a:rPr lang="de-DE"/>
              <a:t> </a:t>
            </a:r>
          </a:p>
        </p:txBody>
      </p:sp>
      <p:sp>
        <p:nvSpPr>
          <p:cNvPr id="2" name="Fußzeilenplatzhalter">
            <a:extLst>
              <a:ext uri="{FF2B5EF4-FFF2-40B4-BE49-F238E27FC236}">
                <a16:creationId xmlns:a16="http://schemas.microsoft.com/office/drawing/2014/main" id="{1DC2352A-7144-4BBC-AB68-A7B0F03DFFCF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© Heinz Nixdorf Institut / Fraunhofer IEM</a:t>
            </a:r>
          </a:p>
        </p:txBody>
      </p:sp>
      <p:sp>
        <p:nvSpPr>
          <p:cNvPr id="12" name="Strich">
            <a:extLst>
              <a:ext uri="{FF2B5EF4-FFF2-40B4-BE49-F238E27FC236}">
                <a16:creationId xmlns:a16="http://schemas.microsoft.com/office/drawing/2014/main" id="{764E1DDD-685F-4A10-996B-A57EFAF77339}"/>
              </a:ext>
            </a:extLst>
          </p:cNvPr>
          <p:cNvSpPr>
            <a:spLocks noGrp="1"/>
          </p:cNvSpPr>
          <p:nvPr>
            <p:ph sz="quarter" idx="38" hasCustomPrompt="1"/>
          </p:nvPr>
        </p:nvSpPr>
        <p:spPr bwMode="gray">
          <a:xfrm>
            <a:off x="941337" y="6426000"/>
            <a:ext cx="10800" cy="21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  <a:lvl2pPr marL="266700" indent="0">
              <a:buNone/>
              <a:defRPr/>
            </a:lvl2pPr>
            <a:lvl3pPr marL="542925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3" name="Foliennummernplatzhalter">
            <a:extLst>
              <a:ext uri="{FF2B5EF4-FFF2-40B4-BE49-F238E27FC236}">
                <a16:creationId xmlns:a16="http://schemas.microsoft.com/office/drawing/2014/main" id="{0073A1BC-A2B2-4A9E-B401-FF2A81FB77EC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5685BD5-7F70-499C-8F04-1460C72EE5D6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0" name="Titel">
            <a:extLst>
              <a:ext uri="{FF2B5EF4-FFF2-40B4-BE49-F238E27FC236}">
                <a16:creationId xmlns:a16="http://schemas.microsoft.com/office/drawing/2014/main" id="{9BC0CC8A-C998-4EF9-8A6E-18521884302D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40000" y="432000"/>
            <a:ext cx="11109600" cy="792000"/>
          </a:xfrm>
        </p:spPr>
        <p:txBody>
          <a:bodyPr/>
          <a:lstStyle>
            <a:lvl1pPr>
              <a:defRPr cap="none" baseline="0"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Titelmasterformat durch Klicken bearbeiten</a:t>
            </a:r>
          </a:p>
        </p:txBody>
      </p:sp>
      <p:sp>
        <p:nvSpPr>
          <p:cNvPr id="11" name="Untertitel">
            <a:extLst>
              <a:ext uri="{FF2B5EF4-FFF2-40B4-BE49-F238E27FC236}">
                <a16:creationId xmlns:a16="http://schemas.microsoft.com/office/drawing/2014/main" id="{93D51ABC-965D-446F-A309-26CB2694C5D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40000" y="828000"/>
            <a:ext cx="11109600" cy="396000"/>
          </a:xfrm>
        </p:spPr>
        <p:txBody>
          <a:bodyPr/>
          <a:lstStyle>
            <a:lvl1pPr marL="0" indent="0"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Geben Sie Ihren Untertitel ein</a:t>
            </a:r>
          </a:p>
        </p:txBody>
      </p:sp>
    </p:spTree>
    <p:extLst>
      <p:ext uri="{BB962C8B-B14F-4D97-AF65-F5344CB8AC3E}">
        <p14:creationId xmlns:p14="http://schemas.microsoft.com/office/powerpoint/2010/main" val="1984714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&amp; BILD |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ußzeilenplatzhalter">
            <a:extLst>
              <a:ext uri="{FF2B5EF4-FFF2-40B4-BE49-F238E27FC236}">
                <a16:creationId xmlns:a16="http://schemas.microsoft.com/office/drawing/2014/main" id="{286735E5-2613-4481-9C70-30C1369056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1126674" y="6390005"/>
            <a:ext cx="4113213" cy="288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>
              <a:defRPr lang="de-DE" sz="100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e-DE"/>
              <a:t>© Heinz Nixdorf Institut / Fraunhofer IEM</a:t>
            </a:r>
          </a:p>
        </p:txBody>
      </p:sp>
      <p:sp>
        <p:nvSpPr>
          <p:cNvPr id="15" name="Strich">
            <a:extLst>
              <a:ext uri="{FF2B5EF4-FFF2-40B4-BE49-F238E27FC236}">
                <a16:creationId xmlns:a16="http://schemas.microsoft.com/office/drawing/2014/main" id="{F2DC961E-E4D4-4C26-8986-AA246C04EA02}"/>
              </a:ext>
            </a:extLst>
          </p:cNvPr>
          <p:cNvSpPr>
            <a:spLocks noGrp="1"/>
          </p:cNvSpPr>
          <p:nvPr>
            <p:ph sz="quarter" idx="38" hasCustomPrompt="1"/>
          </p:nvPr>
        </p:nvSpPr>
        <p:spPr bwMode="gray">
          <a:xfrm>
            <a:off x="941337" y="6426000"/>
            <a:ext cx="10800" cy="216000"/>
          </a:xfrm>
          <a:solidFill>
            <a:schemeClr val="tx1">
              <a:lumMod val="75000"/>
              <a:lumOff val="25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  <a:lvl2pPr marL="266700" indent="0">
              <a:buNone/>
              <a:defRPr/>
            </a:lvl2pPr>
            <a:lvl3pPr marL="542925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14" name="Foliennummernplatzhalter">
            <a:extLst>
              <a:ext uri="{FF2B5EF4-FFF2-40B4-BE49-F238E27FC236}">
                <a16:creationId xmlns:a16="http://schemas.microsoft.com/office/drawing/2014/main" id="{6559DDE1-8CB6-40A0-987C-AB6AF18BA2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40000" y="6390005"/>
            <a:ext cx="226800" cy="288000"/>
          </a:xfrm>
          <a:prstGeom prst="rect">
            <a:avLst/>
          </a:prstGeom>
          <a:ln w="12700" cap="sq">
            <a:noFill/>
            <a:miter lim="800000"/>
          </a:ln>
        </p:spPr>
        <p:txBody>
          <a:bodyPr vert="horz" lIns="0" tIns="0" rIns="0" bIns="0" rtlCol="0" anchor="ctr" anchorCtr="0"/>
          <a:lstStyle>
            <a:lvl1pPr>
              <a:defRPr lang="de-DE" sz="160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2FC27D00-ED81-4BE6-8C39-1CA64B67F9D6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4" name="Inhalt 1">
            <a:extLst>
              <a:ext uri="{FF2B5EF4-FFF2-40B4-BE49-F238E27FC236}">
                <a16:creationId xmlns:a16="http://schemas.microsoft.com/office/drawing/2014/main" id="{94889119-E702-4E7A-9A73-B2B0E13FAC03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0" y="3861000"/>
            <a:ext cx="4060825" cy="2349000"/>
          </a:xfrm>
        </p:spPr>
        <p:txBody>
          <a:bodyPr vert="horz" lIns="540000" tIns="360000" rIns="540000" bIns="0" rtlCol="0">
            <a:noAutofit/>
          </a:bodyPr>
          <a:lstStyle>
            <a:lvl1pPr>
              <a:defRPr lang="de-DE" noProof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lang="de-DE" noProof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lang="de-DE" noProof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lang="de-DE" noProof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lang="de-DE" noProof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45" name="Inhalt 2">
            <a:extLst>
              <a:ext uri="{FF2B5EF4-FFF2-40B4-BE49-F238E27FC236}">
                <a16:creationId xmlns:a16="http://schemas.microsoft.com/office/drawing/2014/main" id="{13CDA819-40A7-489C-BA04-3A15C225FA72}"/>
              </a:ext>
            </a:extLst>
          </p:cNvPr>
          <p:cNvSpPr>
            <a:spLocks noGrp="1"/>
          </p:cNvSpPr>
          <p:nvPr>
            <p:ph idx="19" hasCustomPrompt="1"/>
          </p:nvPr>
        </p:nvSpPr>
        <p:spPr bwMode="gray">
          <a:xfrm>
            <a:off x="4064794" y="3861000"/>
            <a:ext cx="4060825" cy="2349000"/>
          </a:xfrm>
        </p:spPr>
        <p:txBody>
          <a:bodyPr vert="horz" lIns="540000" tIns="360000" rIns="540000" bIns="0" rtlCol="0">
            <a:noAutofit/>
          </a:bodyPr>
          <a:lstStyle>
            <a:lvl1pPr>
              <a:defRPr lang="de-DE" noProof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lang="de-DE" noProof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lang="de-DE" noProof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lang="de-DE" noProof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lang="de-DE" noProof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46" name="Inhalt 3">
            <a:extLst>
              <a:ext uri="{FF2B5EF4-FFF2-40B4-BE49-F238E27FC236}">
                <a16:creationId xmlns:a16="http://schemas.microsoft.com/office/drawing/2014/main" id="{3BD66FCC-0DCA-4B41-960F-21C816E2A707}"/>
              </a:ext>
            </a:extLst>
          </p:cNvPr>
          <p:cNvSpPr>
            <a:spLocks noGrp="1"/>
          </p:cNvSpPr>
          <p:nvPr>
            <p:ph idx="20" hasCustomPrompt="1"/>
          </p:nvPr>
        </p:nvSpPr>
        <p:spPr bwMode="gray">
          <a:xfrm>
            <a:off x="8129588" y="3861000"/>
            <a:ext cx="4060825" cy="2349000"/>
          </a:xfrm>
        </p:spPr>
        <p:txBody>
          <a:bodyPr vert="horz" lIns="540000" tIns="360000" rIns="540000" bIns="0" rtlCol="0">
            <a:noAutofit/>
          </a:bodyPr>
          <a:lstStyle>
            <a:lvl1pPr>
              <a:defRPr lang="de-DE" noProof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lang="de-DE" noProof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lang="de-DE" noProof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lang="de-DE" noProof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lang="de-DE" noProof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4" name="Bildplatzhalter 1">
            <a:extLst>
              <a:ext uri="{FF2B5EF4-FFF2-40B4-BE49-F238E27FC236}">
                <a16:creationId xmlns:a16="http://schemas.microsoft.com/office/drawing/2014/main" id="{552C2170-FD90-4D05-9499-6B64503E5AFD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 bwMode="gray">
          <a:xfrm>
            <a:off x="-1" y="1511999"/>
            <a:ext cx="4063471" cy="2349001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42" name="Bildplatzhalter 2">
            <a:extLst>
              <a:ext uri="{FF2B5EF4-FFF2-40B4-BE49-F238E27FC236}">
                <a16:creationId xmlns:a16="http://schemas.microsoft.com/office/drawing/2014/main" id="{088D755B-0113-46AE-BBCC-0A866CD7E326}"/>
              </a:ext>
            </a:extLst>
          </p:cNvPr>
          <p:cNvSpPr>
            <a:spLocks noGrp="1" noChangeAspect="1"/>
          </p:cNvSpPr>
          <p:nvPr>
            <p:ph type="pic" sz="quarter" idx="17"/>
          </p:nvPr>
        </p:nvSpPr>
        <p:spPr bwMode="gray">
          <a:xfrm>
            <a:off x="4063471" y="1511999"/>
            <a:ext cx="4063471" cy="2349001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43" name="Bildplatzhalter 3">
            <a:extLst>
              <a:ext uri="{FF2B5EF4-FFF2-40B4-BE49-F238E27FC236}">
                <a16:creationId xmlns:a16="http://schemas.microsoft.com/office/drawing/2014/main" id="{9175AD27-7AE9-400D-894B-B0C50E692B84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 bwMode="gray">
          <a:xfrm>
            <a:off x="8126942" y="1511999"/>
            <a:ext cx="4063471" cy="2349001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10" name="Layer 3">
            <a:extLst>
              <a:ext uri="{FF2B5EF4-FFF2-40B4-BE49-F238E27FC236}">
                <a16:creationId xmlns:a16="http://schemas.microsoft.com/office/drawing/2014/main" id="{60F0646F-660F-4FAE-8038-A01AF7E0E6D4}"/>
              </a:ext>
            </a:extLst>
          </p:cNvPr>
          <p:cNvSpPr>
            <a:spLocks noGrp="1" noChangeAspect="1"/>
          </p:cNvSpPr>
          <p:nvPr>
            <p:ph type="body" sz="quarter" idx="21" hasCustomPrompt="1"/>
          </p:nvPr>
        </p:nvSpPr>
        <p:spPr bwMode="gray">
          <a:xfrm>
            <a:off x="3969" y="1511999"/>
            <a:ext cx="4064795" cy="2349000"/>
          </a:xfrm>
          <a:gradFill flip="none" rotWithShape="1">
            <a:gsLst>
              <a:gs pos="80000">
                <a:schemeClr val="accent1">
                  <a:alpha val="80000"/>
                </a:schemeClr>
              </a:gs>
              <a:gs pos="5000">
                <a:schemeClr val="tx2">
                  <a:alpha val="80000"/>
                </a:schemeClr>
              </a:gs>
            </a:gsLst>
            <a:lin ang="2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>
              <a:buNone/>
              <a:defRPr lang="de-DE" b="1" cap="none" baseline="0" noProof="0" dirty="0"/>
            </a:lvl1pPr>
          </a:lstStyle>
          <a:p>
            <a:pPr marL="270000" lvl="0" indent="-270000" algn="ctr">
              <a:buClr>
                <a:schemeClr val="accent1"/>
              </a:buClr>
            </a:pPr>
            <a:r>
              <a:rPr lang="de-DE"/>
              <a:t> </a:t>
            </a:r>
          </a:p>
        </p:txBody>
      </p:sp>
      <p:sp>
        <p:nvSpPr>
          <p:cNvPr id="11" name="Layer 2">
            <a:extLst>
              <a:ext uri="{FF2B5EF4-FFF2-40B4-BE49-F238E27FC236}">
                <a16:creationId xmlns:a16="http://schemas.microsoft.com/office/drawing/2014/main" id="{1299473D-32EF-41CA-8444-228DD37EA6EA}"/>
              </a:ext>
            </a:extLst>
          </p:cNvPr>
          <p:cNvSpPr>
            <a:spLocks noGrp="1" noChangeAspect="1"/>
          </p:cNvSpPr>
          <p:nvPr>
            <p:ph type="body" sz="quarter" idx="22" hasCustomPrompt="1"/>
          </p:nvPr>
        </p:nvSpPr>
        <p:spPr bwMode="gray">
          <a:xfrm>
            <a:off x="4066779" y="1511999"/>
            <a:ext cx="4064795" cy="2349000"/>
          </a:xfrm>
          <a:gradFill flip="none" rotWithShape="1">
            <a:gsLst>
              <a:gs pos="80000">
                <a:schemeClr val="accent1">
                  <a:alpha val="80000"/>
                </a:schemeClr>
              </a:gs>
              <a:gs pos="5000">
                <a:schemeClr val="tx2">
                  <a:alpha val="80000"/>
                </a:schemeClr>
              </a:gs>
            </a:gsLst>
            <a:lin ang="2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>
              <a:buNone/>
              <a:defRPr lang="de-DE" b="1" cap="none" baseline="0" dirty="0"/>
            </a:lvl1pPr>
          </a:lstStyle>
          <a:p>
            <a:pPr marL="270000" lvl="0" indent="-270000" algn="ctr">
              <a:buClr>
                <a:schemeClr val="accent1"/>
              </a:buClr>
            </a:pPr>
            <a:r>
              <a:rPr lang="de-DE"/>
              <a:t> </a:t>
            </a:r>
          </a:p>
        </p:txBody>
      </p:sp>
      <p:sp>
        <p:nvSpPr>
          <p:cNvPr id="12" name="Layer 1">
            <a:extLst>
              <a:ext uri="{FF2B5EF4-FFF2-40B4-BE49-F238E27FC236}">
                <a16:creationId xmlns:a16="http://schemas.microsoft.com/office/drawing/2014/main" id="{F94A81E5-F59B-4804-8AF0-F8F08E622EA6}"/>
              </a:ext>
            </a:extLst>
          </p:cNvPr>
          <p:cNvSpPr>
            <a:spLocks noGrp="1" noChangeAspect="1"/>
          </p:cNvSpPr>
          <p:nvPr>
            <p:ph type="body" sz="quarter" idx="23" hasCustomPrompt="1"/>
          </p:nvPr>
        </p:nvSpPr>
        <p:spPr bwMode="gray">
          <a:xfrm>
            <a:off x="8129588" y="1511999"/>
            <a:ext cx="4064795" cy="2349000"/>
          </a:xfrm>
          <a:gradFill flip="none" rotWithShape="1">
            <a:gsLst>
              <a:gs pos="80000">
                <a:schemeClr val="accent1">
                  <a:alpha val="80000"/>
                </a:schemeClr>
              </a:gs>
              <a:gs pos="5000">
                <a:schemeClr val="tx2">
                  <a:alpha val="80000"/>
                </a:schemeClr>
              </a:gs>
            </a:gsLst>
            <a:lin ang="2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>
              <a:buNone/>
              <a:defRPr lang="de-DE" b="1" cap="none" baseline="0" dirty="0"/>
            </a:lvl1pPr>
          </a:lstStyle>
          <a:p>
            <a:pPr marL="270000" lvl="0" indent="-270000" algn="ctr">
              <a:buClr>
                <a:schemeClr val="accent1"/>
              </a:buClr>
            </a:pPr>
            <a:r>
              <a:rPr lang="de-DE"/>
              <a:t> </a:t>
            </a:r>
          </a:p>
        </p:txBody>
      </p:sp>
      <p:sp>
        <p:nvSpPr>
          <p:cNvPr id="103" name="Titel">
            <a:extLst>
              <a:ext uri="{FF2B5EF4-FFF2-40B4-BE49-F238E27FC236}">
                <a16:creationId xmlns:a16="http://schemas.microsoft.com/office/drawing/2014/main" id="{CBD37590-67AC-49C4-A1D7-2F5AB13866DB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40000" y="432000"/>
            <a:ext cx="11109600" cy="792000"/>
          </a:xfrm>
        </p:spPr>
        <p:txBody>
          <a:bodyPr/>
          <a:lstStyle>
            <a:lvl1pPr>
              <a:defRPr cap="none" baseline="0"/>
            </a:lvl1pPr>
          </a:lstStyle>
          <a:p>
            <a:r>
              <a:rPr lang="de-DE" noProof="0"/>
              <a:t>Titelmasterformat durch Klicken bearbeiten</a:t>
            </a:r>
          </a:p>
        </p:txBody>
      </p:sp>
      <p:sp>
        <p:nvSpPr>
          <p:cNvPr id="104" name="Untertitel">
            <a:extLst>
              <a:ext uri="{FF2B5EF4-FFF2-40B4-BE49-F238E27FC236}">
                <a16:creationId xmlns:a16="http://schemas.microsoft.com/office/drawing/2014/main" id="{2830255C-A9EB-471E-8B37-CD61B74E892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40000" y="828000"/>
            <a:ext cx="11109600" cy="396000"/>
          </a:xfrm>
        </p:spPr>
        <p:txBody>
          <a:bodyPr/>
          <a:lstStyle>
            <a:lvl1pPr marL="0" indent="0">
              <a:buNone/>
              <a:defRPr sz="2000" b="1" baseline="0">
                <a:solidFill>
                  <a:schemeClr val="accent1"/>
                </a:solidFill>
              </a:defRPr>
            </a:lvl1pPr>
          </a:lstStyle>
          <a:p>
            <a:r>
              <a:rPr lang="de-DE" noProof="0"/>
              <a:t>Geben Sie Ihren Untertitel ein</a:t>
            </a:r>
          </a:p>
        </p:txBody>
      </p:sp>
    </p:spTree>
    <p:extLst>
      <p:ext uri="{BB962C8B-B14F-4D97-AF65-F5344CB8AC3E}">
        <p14:creationId xmlns:p14="http://schemas.microsoft.com/office/powerpoint/2010/main" val="344951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&amp; BILD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ußzeilenplatzhalter">
            <a:extLst>
              <a:ext uri="{FF2B5EF4-FFF2-40B4-BE49-F238E27FC236}">
                <a16:creationId xmlns:a16="http://schemas.microsoft.com/office/drawing/2014/main" id="{38288D4E-8293-4359-921E-273F1959962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1126674" y="6390005"/>
            <a:ext cx="4113213" cy="288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>
              <a:defRPr lang="de-DE" sz="100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e-DE"/>
              <a:t>© Heinz Nixdorf Institut / Fraunhofer IEM</a:t>
            </a:r>
          </a:p>
        </p:txBody>
      </p:sp>
      <p:sp>
        <p:nvSpPr>
          <p:cNvPr id="19" name="Strich">
            <a:extLst>
              <a:ext uri="{FF2B5EF4-FFF2-40B4-BE49-F238E27FC236}">
                <a16:creationId xmlns:a16="http://schemas.microsoft.com/office/drawing/2014/main" id="{EF85536D-E155-4BD6-AA24-62BDB5617880}"/>
              </a:ext>
            </a:extLst>
          </p:cNvPr>
          <p:cNvSpPr>
            <a:spLocks noGrp="1"/>
          </p:cNvSpPr>
          <p:nvPr>
            <p:ph sz="quarter" idx="38" hasCustomPrompt="1"/>
          </p:nvPr>
        </p:nvSpPr>
        <p:spPr bwMode="gray">
          <a:xfrm>
            <a:off x="941337" y="6426000"/>
            <a:ext cx="10800" cy="216000"/>
          </a:xfrm>
          <a:solidFill>
            <a:schemeClr val="tx1">
              <a:lumMod val="75000"/>
              <a:lumOff val="25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  <a:lvl2pPr marL="266700" indent="0">
              <a:buNone/>
              <a:defRPr/>
            </a:lvl2pPr>
            <a:lvl3pPr marL="542925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18" name="Foliennummernplatzhalter">
            <a:extLst>
              <a:ext uri="{FF2B5EF4-FFF2-40B4-BE49-F238E27FC236}">
                <a16:creationId xmlns:a16="http://schemas.microsoft.com/office/drawing/2014/main" id="{248119CC-6A23-4557-B540-CD0D87B792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40000" y="6390005"/>
            <a:ext cx="226800" cy="288000"/>
          </a:xfrm>
          <a:prstGeom prst="rect">
            <a:avLst/>
          </a:prstGeom>
          <a:ln w="12700" cap="sq">
            <a:noFill/>
            <a:miter lim="800000"/>
          </a:ln>
        </p:spPr>
        <p:txBody>
          <a:bodyPr vert="horz" lIns="0" tIns="0" rIns="0" bIns="0" rtlCol="0" anchor="ctr" anchorCtr="0"/>
          <a:lstStyle>
            <a:lvl1pPr>
              <a:defRPr lang="de-DE" sz="160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2FC27D00-ED81-4BE6-8C39-1CA64B67F9D6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4" name="Inhalt 1">
            <a:extLst>
              <a:ext uri="{FF2B5EF4-FFF2-40B4-BE49-F238E27FC236}">
                <a16:creationId xmlns:a16="http://schemas.microsoft.com/office/drawing/2014/main" id="{94889119-E702-4E7A-9A73-B2B0E13FAC03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0" y="3861000"/>
            <a:ext cx="3047603" cy="2349000"/>
          </a:xfrm>
        </p:spPr>
        <p:txBody>
          <a:bodyPr vert="horz" lIns="360000" tIns="360000" rIns="360000" bIns="360000" rtlCol="0">
            <a:noAutofit/>
          </a:bodyPr>
          <a:lstStyle>
            <a:lvl1pPr>
              <a:defRPr lang="de-DE" noProof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lang="de-DE" noProof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lang="de-DE" noProof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lang="de-DE" noProof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lang="de-DE" noProof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  <p:sp>
        <p:nvSpPr>
          <p:cNvPr id="39" name="Inhalt 2">
            <a:extLst>
              <a:ext uri="{FF2B5EF4-FFF2-40B4-BE49-F238E27FC236}">
                <a16:creationId xmlns:a16="http://schemas.microsoft.com/office/drawing/2014/main" id="{0D1ACE6F-A7C5-413C-AC2D-8ABF48297D12}"/>
              </a:ext>
            </a:extLst>
          </p:cNvPr>
          <p:cNvSpPr>
            <a:spLocks noGrp="1"/>
          </p:cNvSpPr>
          <p:nvPr>
            <p:ph idx="24" hasCustomPrompt="1"/>
          </p:nvPr>
        </p:nvSpPr>
        <p:spPr bwMode="gray">
          <a:xfrm>
            <a:off x="3047603" y="1512000"/>
            <a:ext cx="3047603" cy="2349000"/>
          </a:xfrm>
        </p:spPr>
        <p:txBody>
          <a:bodyPr vert="horz" lIns="360000" tIns="360000" rIns="360000" bIns="360000" rtlCol="0">
            <a:noAutofit/>
          </a:bodyPr>
          <a:lstStyle>
            <a:lvl1pPr>
              <a:defRPr lang="de-DE" noProof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lang="de-DE" noProof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lang="de-DE" noProof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lang="de-DE" noProof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lang="de-DE" noProof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  <p:sp>
        <p:nvSpPr>
          <p:cNvPr id="40" name="Inhalt 3">
            <a:extLst>
              <a:ext uri="{FF2B5EF4-FFF2-40B4-BE49-F238E27FC236}">
                <a16:creationId xmlns:a16="http://schemas.microsoft.com/office/drawing/2014/main" id="{4957206C-2E3B-400C-B0F9-CE26F50242E0}"/>
              </a:ext>
            </a:extLst>
          </p:cNvPr>
          <p:cNvSpPr>
            <a:spLocks noGrp="1"/>
          </p:cNvSpPr>
          <p:nvPr>
            <p:ph idx="25" hasCustomPrompt="1"/>
          </p:nvPr>
        </p:nvSpPr>
        <p:spPr bwMode="gray">
          <a:xfrm>
            <a:off x="6095206" y="3861000"/>
            <a:ext cx="3047603" cy="2349000"/>
          </a:xfrm>
        </p:spPr>
        <p:txBody>
          <a:bodyPr vert="horz" lIns="360000" tIns="360000" rIns="360000" bIns="360000" rtlCol="0">
            <a:noAutofit/>
          </a:bodyPr>
          <a:lstStyle>
            <a:lvl1pPr>
              <a:defRPr lang="de-DE" noProof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lang="de-DE" noProof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lang="de-DE" noProof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lang="de-DE" noProof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lang="de-DE" noProof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  <p:sp>
        <p:nvSpPr>
          <p:cNvPr id="41" name="Inhalt 4">
            <a:extLst>
              <a:ext uri="{FF2B5EF4-FFF2-40B4-BE49-F238E27FC236}">
                <a16:creationId xmlns:a16="http://schemas.microsoft.com/office/drawing/2014/main" id="{759DAE10-C3B7-4038-8BC9-116524876327}"/>
              </a:ext>
            </a:extLst>
          </p:cNvPr>
          <p:cNvSpPr>
            <a:spLocks noGrp="1"/>
          </p:cNvSpPr>
          <p:nvPr>
            <p:ph idx="26" hasCustomPrompt="1"/>
          </p:nvPr>
        </p:nvSpPr>
        <p:spPr bwMode="gray">
          <a:xfrm>
            <a:off x="9142810" y="1512000"/>
            <a:ext cx="3047603" cy="2349000"/>
          </a:xfrm>
        </p:spPr>
        <p:txBody>
          <a:bodyPr vert="horz" lIns="360000" tIns="360000" rIns="360000" bIns="360000" rtlCol="0">
            <a:noAutofit/>
          </a:bodyPr>
          <a:lstStyle>
            <a:lvl1pPr>
              <a:defRPr lang="de-DE" noProof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lang="de-DE" noProof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lang="de-DE" noProof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lang="de-DE" noProof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lang="de-DE" noProof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  <p:sp>
        <p:nvSpPr>
          <p:cNvPr id="4" name="Bildplatzhalter 1">
            <a:extLst>
              <a:ext uri="{FF2B5EF4-FFF2-40B4-BE49-F238E27FC236}">
                <a16:creationId xmlns:a16="http://schemas.microsoft.com/office/drawing/2014/main" id="{552C2170-FD90-4D05-9499-6B64503E5AFD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 bwMode="gray">
          <a:xfrm>
            <a:off x="0" y="1512000"/>
            <a:ext cx="3047604" cy="2349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36" name="Bildplatzhalter 2">
            <a:extLst>
              <a:ext uri="{FF2B5EF4-FFF2-40B4-BE49-F238E27FC236}">
                <a16:creationId xmlns:a16="http://schemas.microsoft.com/office/drawing/2014/main" id="{49C9A34D-78EE-42CB-9603-2B97412BE4B9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 bwMode="gray">
          <a:xfrm>
            <a:off x="3047603" y="3861000"/>
            <a:ext cx="3047604" cy="2349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37" name="Bildplatzhalter 3">
            <a:extLst>
              <a:ext uri="{FF2B5EF4-FFF2-40B4-BE49-F238E27FC236}">
                <a16:creationId xmlns:a16="http://schemas.microsoft.com/office/drawing/2014/main" id="{76494E04-AD37-4303-AE06-AFB8B2523ABD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 bwMode="gray">
          <a:xfrm>
            <a:off x="6095206" y="1512000"/>
            <a:ext cx="3047604" cy="2349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38" name="Bildplatzhalter 4">
            <a:extLst>
              <a:ext uri="{FF2B5EF4-FFF2-40B4-BE49-F238E27FC236}">
                <a16:creationId xmlns:a16="http://schemas.microsoft.com/office/drawing/2014/main" id="{408E3554-B1DA-497E-847A-C8A9419E9358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 bwMode="gray">
          <a:xfrm>
            <a:off x="9142809" y="3861000"/>
            <a:ext cx="3047604" cy="2349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12" name="Layer 1">
            <a:extLst>
              <a:ext uri="{FF2B5EF4-FFF2-40B4-BE49-F238E27FC236}">
                <a16:creationId xmlns:a16="http://schemas.microsoft.com/office/drawing/2014/main" id="{940F3164-D3A5-49B7-B0A1-41AE485B1BA7}"/>
              </a:ext>
            </a:extLst>
          </p:cNvPr>
          <p:cNvSpPr>
            <a:spLocks noGrp="1" noChangeAspect="1"/>
          </p:cNvSpPr>
          <p:nvPr>
            <p:ph type="body" sz="quarter" idx="27" hasCustomPrompt="1"/>
          </p:nvPr>
        </p:nvSpPr>
        <p:spPr bwMode="gray">
          <a:xfrm>
            <a:off x="-1" y="1511999"/>
            <a:ext cx="3047605" cy="2349000"/>
          </a:xfrm>
          <a:gradFill flip="none" rotWithShape="1">
            <a:gsLst>
              <a:gs pos="80000">
                <a:schemeClr val="accent1">
                  <a:alpha val="80000"/>
                </a:schemeClr>
              </a:gs>
              <a:gs pos="5000">
                <a:schemeClr val="tx2">
                  <a:alpha val="80000"/>
                </a:schemeClr>
              </a:gs>
            </a:gsLst>
            <a:lin ang="2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>
              <a:buNone/>
              <a:defRPr lang="de-DE" b="1" cap="none" baseline="0" dirty="0"/>
            </a:lvl1pPr>
          </a:lstStyle>
          <a:p>
            <a:pPr marL="270000" lvl="0" indent="-270000" algn="ctr">
              <a:buClr>
                <a:schemeClr val="accent1"/>
              </a:buClr>
            </a:pPr>
            <a:r>
              <a:rPr lang="de-DE"/>
              <a:t> </a:t>
            </a:r>
          </a:p>
        </p:txBody>
      </p:sp>
      <p:sp>
        <p:nvSpPr>
          <p:cNvPr id="15" name="Layer 2">
            <a:extLst>
              <a:ext uri="{FF2B5EF4-FFF2-40B4-BE49-F238E27FC236}">
                <a16:creationId xmlns:a16="http://schemas.microsoft.com/office/drawing/2014/main" id="{D4B8B030-7464-40DE-ABB5-AA40D9F8D225}"/>
              </a:ext>
            </a:extLst>
          </p:cNvPr>
          <p:cNvSpPr>
            <a:spLocks noGrp="1" noChangeAspect="1"/>
          </p:cNvSpPr>
          <p:nvPr>
            <p:ph type="body" sz="quarter" idx="29" hasCustomPrompt="1"/>
          </p:nvPr>
        </p:nvSpPr>
        <p:spPr bwMode="gray">
          <a:xfrm>
            <a:off x="3047604" y="3861000"/>
            <a:ext cx="3047605" cy="2349000"/>
          </a:xfrm>
          <a:gradFill flip="none" rotWithShape="1">
            <a:gsLst>
              <a:gs pos="80000">
                <a:schemeClr val="accent1">
                  <a:alpha val="80000"/>
                </a:schemeClr>
              </a:gs>
              <a:gs pos="5000">
                <a:schemeClr val="tx2">
                  <a:alpha val="80000"/>
                </a:schemeClr>
              </a:gs>
            </a:gsLst>
            <a:lin ang="2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>
              <a:buNone/>
              <a:defRPr lang="de-DE" b="1" cap="none" baseline="0" dirty="0"/>
            </a:lvl1pPr>
          </a:lstStyle>
          <a:p>
            <a:pPr marL="270000" lvl="0" indent="-270000" algn="ctr">
              <a:buClr>
                <a:schemeClr val="accent1"/>
              </a:buClr>
            </a:pPr>
            <a:r>
              <a:rPr lang="de-DE"/>
              <a:t> </a:t>
            </a:r>
          </a:p>
        </p:txBody>
      </p:sp>
      <p:sp>
        <p:nvSpPr>
          <p:cNvPr id="13" name="Layer 3">
            <a:extLst>
              <a:ext uri="{FF2B5EF4-FFF2-40B4-BE49-F238E27FC236}">
                <a16:creationId xmlns:a16="http://schemas.microsoft.com/office/drawing/2014/main" id="{B30947B6-89C2-4FFA-837D-260D89B1D848}"/>
              </a:ext>
            </a:extLst>
          </p:cNvPr>
          <p:cNvSpPr>
            <a:spLocks noGrp="1" noChangeAspect="1"/>
          </p:cNvSpPr>
          <p:nvPr>
            <p:ph type="body" sz="quarter" idx="28" hasCustomPrompt="1"/>
          </p:nvPr>
        </p:nvSpPr>
        <p:spPr bwMode="gray">
          <a:xfrm>
            <a:off x="6095207" y="1511999"/>
            <a:ext cx="3047603" cy="2349000"/>
          </a:xfrm>
          <a:gradFill flip="none" rotWithShape="1">
            <a:gsLst>
              <a:gs pos="80000">
                <a:schemeClr val="accent1">
                  <a:alpha val="80000"/>
                </a:schemeClr>
              </a:gs>
              <a:gs pos="5000">
                <a:schemeClr val="tx2">
                  <a:alpha val="80000"/>
                </a:schemeClr>
              </a:gs>
            </a:gsLst>
            <a:lin ang="2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>
              <a:buNone/>
              <a:defRPr lang="de-DE" b="1" cap="none" baseline="0" dirty="0"/>
            </a:lvl1pPr>
          </a:lstStyle>
          <a:p>
            <a:pPr marL="270000" lvl="0" indent="-270000" algn="ctr">
              <a:buClr>
                <a:schemeClr val="accent1"/>
              </a:buClr>
            </a:pPr>
            <a:r>
              <a:rPr lang="de-DE"/>
              <a:t> </a:t>
            </a:r>
          </a:p>
        </p:txBody>
      </p:sp>
      <p:sp>
        <p:nvSpPr>
          <p:cNvPr id="16" name="Layer 4">
            <a:extLst>
              <a:ext uri="{FF2B5EF4-FFF2-40B4-BE49-F238E27FC236}">
                <a16:creationId xmlns:a16="http://schemas.microsoft.com/office/drawing/2014/main" id="{A051EF60-133E-4C4B-9195-46122C81BF15}"/>
              </a:ext>
            </a:extLst>
          </p:cNvPr>
          <p:cNvSpPr>
            <a:spLocks noGrp="1" noChangeAspect="1"/>
          </p:cNvSpPr>
          <p:nvPr>
            <p:ph type="body" sz="quarter" idx="30" hasCustomPrompt="1"/>
          </p:nvPr>
        </p:nvSpPr>
        <p:spPr bwMode="gray">
          <a:xfrm>
            <a:off x="9142812" y="3861000"/>
            <a:ext cx="3047603" cy="2349000"/>
          </a:xfrm>
          <a:gradFill flip="none" rotWithShape="1">
            <a:gsLst>
              <a:gs pos="80000">
                <a:schemeClr val="accent1">
                  <a:alpha val="80000"/>
                </a:schemeClr>
              </a:gs>
              <a:gs pos="5000">
                <a:schemeClr val="tx2">
                  <a:alpha val="80000"/>
                </a:schemeClr>
              </a:gs>
            </a:gsLst>
            <a:lin ang="2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>
              <a:buNone/>
              <a:defRPr lang="de-DE" b="1" cap="none" baseline="0" dirty="0"/>
            </a:lvl1pPr>
          </a:lstStyle>
          <a:p>
            <a:pPr marL="270000" lvl="0" indent="-270000" algn="ctr">
              <a:buClr>
                <a:schemeClr val="accent1"/>
              </a:buClr>
            </a:pPr>
            <a:r>
              <a:rPr lang="de-DE"/>
              <a:t> </a:t>
            </a:r>
          </a:p>
        </p:txBody>
      </p:sp>
      <p:sp>
        <p:nvSpPr>
          <p:cNvPr id="107" name="Titel">
            <a:extLst>
              <a:ext uri="{FF2B5EF4-FFF2-40B4-BE49-F238E27FC236}">
                <a16:creationId xmlns:a16="http://schemas.microsoft.com/office/drawing/2014/main" id="{F057D763-412E-4BE6-8B34-F4627EC6EC0B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40000" y="432000"/>
            <a:ext cx="11109600" cy="792000"/>
          </a:xfrm>
        </p:spPr>
        <p:txBody>
          <a:bodyPr/>
          <a:lstStyle>
            <a:lvl1pPr>
              <a:defRPr cap="none" baseline="0"/>
            </a:lvl1pPr>
          </a:lstStyle>
          <a:p>
            <a:r>
              <a:rPr lang="de-DE" noProof="0"/>
              <a:t>Titelmasterformat durch Klicken bearbeiten</a:t>
            </a:r>
          </a:p>
        </p:txBody>
      </p:sp>
      <p:sp>
        <p:nvSpPr>
          <p:cNvPr id="108" name="Untertitel">
            <a:extLst>
              <a:ext uri="{FF2B5EF4-FFF2-40B4-BE49-F238E27FC236}">
                <a16:creationId xmlns:a16="http://schemas.microsoft.com/office/drawing/2014/main" id="{A87BFB79-E55E-43EA-A854-57A4C2331C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40000" y="828000"/>
            <a:ext cx="11109600" cy="396000"/>
          </a:xfrm>
        </p:spPr>
        <p:txBody>
          <a:bodyPr/>
          <a:lstStyle>
            <a:lvl1pPr marL="0" indent="0">
              <a:buNone/>
              <a:defRPr sz="2000" b="1" baseline="0">
                <a:solidFill>
                  <a:schemeClr val="accent1"/>
                </a:solidFill>
              </a:defRPr>
            </a:lvl1pPr>
          </a:lstStyle>
          <a:p>
            <a:r>
              <a:rPr lang="de-DE" noProof="0"/>
              <a:t>Geben Sie Ihren Untertitel ein</a:t>
            </a:r>
          </a:p>
        </p:txBody>
      </p:sp>
    </p:spTree>
    <p:extLst>
      <p:ext uri="{BB962C8B-B14F-4D97-AF65-F5344CB8AC3E}">
        <p14:creationId xmlns:p14="http://schemas.microsoft.com/office/powerpoint/2010/main" val="20025369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&amp; BILD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">
            <a:extLst>
              <a:ext uri="{FF2B5EF4-FFF2-40B4-BE49-F238E27FC236}">
                <a16:creationId xmlns:a16="http://schemas.microsoft.com/office/drawing/2014/main" id="{39151FA2-7C27-41D4-AA7B-6D17BEB5B995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 bwMode="gray">
          <a:xfrm>
            <a:off x="8126943" y="0"/>
            <a:ext cx="4063470" cy="6209998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5" name="Layer">
            <a:extLst>
              <a:ext uri="{FF2B5EF4-FFF2-40B4-BE49-F238E27FC236}">
                <a16:creationId xmlns:a16="http://schemas.microsoft.com/office/drawing/2014/main" id="{DA545EB5-B67A-4929-A5BA-90455619DDCC}"/>
              </a:ext>
            </a:extLst>
          </p:cNvPr>
          <p:cNvSpPr>
            <a:spLocks noGrp="1" noChangeAspect="1"/>
          </p:cNvSpPr>
          <p:nvPr>
            <p:ph type="ctrTitle" hasCustomPrompt="1"/>
          </p:nvPr>
        </p:nvSpPr>
        <p:spPr bwMode="gray">
          <a:xfrm>
            <a:off x="8126013" y="0"/>
            <a:ext cx="4064400" cy="6209998"/>
          </a:xfrm>
          <a:prstGeom prst="rect">
            <a:avLst/>
          </a:prstGeom>
          <a:gradFill flip="none" rotWithShape="1">
            <a:gsLst>
              <a:gs pos="80000">
                <a:schemeClr val="accent1">
                  <a:alpha val="80000"/>
                </a:schemeClr>
              </a:gs>
              <a:gs pos="0">
                <a:schemeClr val="tx2">
                  <a:alpha val="80000"/>
                </a:schemeClr>
              </a:gs>
            </a:gsLst>
            <a:lin ang="2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>
              <a:defRPr lang="en-US" sz="1600" noProof="0" dirty="0"/>
            </a:lvl1pPr>
          </a:lstStyle>
          <a:p>
            <a:pPr marL="0" lvl="0" indent="0" algn="ctr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</a:pPr>
            <a:r>
              <a:rPr lang="en-US" noProof="0"/>
              <a:t> </a:t>
            </a:r>
          </a:p>
        </p:txBody>
      </p:sp>
      <p:sp>
        <p:nvSpPr>
          <p:cNvPr id="9" name="Inhalt">
            <a:extLst>
              <a:ext uri="{FF2B5EF4-FFF2-40B4-BE49-F238E27FC236}">
                <a16:creationId xmlns:a16="http://schemas.microsoft.com/office/drawing/2014/main" id="{D8FE5455-92B1-481C-956F-86E97525C15E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540000" y="1511998"/>
            <a:ext cx="7048800" cy="4698000"/>
          </a:xfrm>
        </p:spPr>
        <p:txBody>
          <a:bodyPr vert="horz" lIns="0" tIns="0" rIns="0" bIns="0" rtlCol="0">
            <a:noAutofit/>
          </a:bodyPr>
          <a:lstStyle>
            <a:lvl1pPr>
              <a:defRPr lang="de-DE" noProof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lang="de-DE" noProof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lang="de-DE" noProof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lang="de-DE" noProof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lang="de-DE" noProof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3" name="Titel">
            <a:extLst>
              <a:ext uri="{FF2B5EF4-FFF2-40B4-BE49-F238E27FC236}">
                <a16:creationId xmlns:a16="http://schemas.microsoft.com/office/drawing/2014/main" id="{8E1C0289-6EEF-4C25-AB99-89B27CBDEF8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540000" y="432000"/>
            <a:ext cx="7048800" cy="792000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de-DE" sz="2400" b="1" cap="none" baseline="0" dirty="0"/>
            </a:lvl1pPr>
          </a:lstStyle>
          <a:p>
            <a:pPr marL="270000" lvl="0" indent="-270000">
              <a:spcBef>
                <a:spcPct val="0"/>
              </a:spcBef>
            </a:pPr>
            <a:r>
              <a:rPr lang="de-DE"/>
              <a:t>Titelmasterformat durch Klicken bearbeiten</a:t>
            </a:r>
          </a:p>
        </p:txBody>
      </p:sp>
      <p:sp>
        <p:nvSpPr>
          <p:cNvPr id="8" name="Untertitel">
            <a:extLst>
              <a:ext uri="{FF2B5EF4-FFF2-40B4-BE49-F238E27FC236}">
                <a16:creationId xmlns:a16="http://schemas.microsoft.com/office/drawing/2014/main" id="{0032A111-3B44-43CC-9AFE-F1F4E509C26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40000" y="828000"/>
            <a:ext cx="7048800" cy="396000"/>
          </a:xfrm>
        </p:spPr>
        <p:txBody>
          <a:bodyPr vert="horz" lIns="0" tIns="0" rIns="0" bIns="0" rtlCol="0">
            <a:noAutofit/>
          </a:bodyPr>
          <a:lstStyle>
            <a:lvl1pPr marL="0" indent="0">
              <a:buFont typeface="Arial" panose="020B0604020202020204" pitchFamily="34" charset="0"/>
              <a:buNone/>
              <a:defRPr lang="de-DE" sz="2000" b="1" baseline="0" noProof="0" dirty="0">
                <a:solidFill>
                  <a:schemeClr val="accent1"/>
                </a:solidFill>
              </a:defRPr>
            </a:lvl1pPr>
          </a:lstStyle>
          <a:p>
            <a:pPr marL="270000" lvl="0" indent="-270000"/>
            <a:r>
              <a:rPr lang="de-DE" noProof="0"/>
              <a:t>Geben Sie Ihren Untertitel ein</a:t>
            </a:r>
          </a:p>
        </p:txBody>
      </p:sp>
      <p:sp>
        <p:nvSpPr>
          <p:cNvPr id="7" name="Fußzeilenplatzhalter">
            <a:extLst>
              <a:ext uri="{FF2B5EF4-FFF2-40B4-BE49-F238E27FC236}">
                <a16:creationId xmlns:a16="http://schemas.microsoft.com/office/drawing/2014/main" id="{E98A146D-B48C-4446-8F2A-802E5CBB205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1126674" y="6390000"/>
            <a:ext cx="496853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e-DE"/>
              <a:t>© Heinz Nixdorf Institut / Fraunhofer IEM</a:t>
            </a:r>
          </a:p>
        </p:txBody>
      </p:sp>
      <p:sp>
        <p:nvSpPr>
          <p:cNvPr id="11" name="Strich">
            <a:extLst>
              <a:ext uri="{FF2B5EF4-FFF2-40B4-BE49-F238E27FC236}">
                <a16:creationId xmlns:a16="http://schemas.microsoft.com/office/drawing/2014/main" id="{3F7CD8A7-7930-4E5D-8CF1-09F72779E223}"/>
              </a:ext>
            </a:extLst>
          </p:cNvPr>
          <p:cNvSpPr>
            <a:spLocks noGrp="1"/>
          </p:cNvSpPr>
          <p:nvPr>
            <p:ph sz="quarter" idx="38" hasCustomPrompt="1"/>
          </p:nvPr>
        </p:nvSpPr>
        <p:spPr bwMode="gray">
          <a:xfrm>
            <a:off x="941337" y="6426000"/>
            <a:ext cx="10800" cy="216000"/>
          </a:xfrm>
          <a:solidFill>
            <a:schemeClr val="tx1">
              <a:lumMod val="75000"/>
              <a:lumOff val="25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  <a:lvl2pPr marL="266700" indent="0">
              <a:buNone/>
              <a:defRPr/>
            </a:lvl2pPr>
            <a:lvl3pPr marL="542925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10" name="Foliennummernplatzhalter">
            <a:extLst>
              <a:ext uri="{FF2B5EF4-FFF2-40B4-BE49-F238E27FC236}">
                <a16:creationId xmlns:a16="http://schemas.microsoft.com/office/drawing/2014/main" id="{2D5096A3-8E75-4DB9-A9CA-F8686DF9305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40000" y="6390000"/>
            <a:ext cx="22680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65685BD5-7F70-499C-8F04-1460C72EE5D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47921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&amp; BILD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ußzeilenplatzhalter">
            <a:extLst>
              <a:ext uri="{FF2B5EF4-FFF2-40B4-BE49-F238E27FC236}">
                <a16:creationId xmlns:a16="http://schemas.microsoft.com/office/drawing/2014/main" id="{83E14D4F-B1E3-4C73-AE3F-65242DAC23E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1126674" y="6390000"/>
            <a:ext cx="496853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e-DE"/>
              <a:t>© Heinz Nixdorf Institut / Fraunhofer IEM</a:t>
            </a:r>
          </a:p>
        </p:txBody>
      </p:sp>
      <p:sp>
        <p:nvSpPr>
          <p:cNvPr id="11" name="Strich">
            <a:extLst>
              <a:ext uri="{FF2B5EF4-FFF2-40B4-BE49-F238E27FC236}">
                <a16:creationId xmlns:a16="http://schemas.microsoft.com/office/drawing/2014/main" id="{6F51AC14-8C27-42E9-9859-A55E7A627C5F}"/>
              </a:ext>
            </a:extLst>
          </p:cNvPr>
          <p:cNvSpPr>
            <a:spLocks noGrp="1"/>
          </p:cNvSpPr>
          <p:nvPr>
            <p:ph sz="quarter" idx="38" hasCustomPrompt="1"/>
          </p:nvPr>
        </p:nvSpPr>
        <p:spPr bwMode="gray">
          <a:xfrm>
            <a:off x="941337" y="6426000"/>
            <a:ext cx="10800" cy="216000"/>
          </a:xfrm>
          <a:solidFill>
            <a:schemeClr val="tx1">
              <a:lumMod val="75000"/>
              <a:lumOff val="25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  <a:lvl2pPr marL="266700" indent="0">
              <a:buNone/>
              <a:defRPr/>
            </a:lvl2pPr>
            <a:lvl3pPr marL="542925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9" name="Foliennummernplatzhalter">
            <a:extLst>
              <a:ext uri="{FF2B5EF4-FFF2-40B4-BE49-F238E27FC236}">
                <a16:creationId xmlns:a16="http://schemas.microsoft.com/office/drawing/2014/main" id="{2F5B1326-A0E1-48F0-A6D1-A9EA639D93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40000" y="6390000"/>
            <a:ext cx="22680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65685BD5-7F70-499C-8F04-1460C72EE5D6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" name="Bildplatzhalter">
            <a:extLst>
              <a:ext uri="{FF2B5EF4-FFF2-40B4-BE49-F238E27FC236}">
                <a16:creationId xmlns:a16="http://schemas.microsoft.com/office/drawing/2014/main" id="{A396F3DE-062E-4905-BAD7-7BA8958C57A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 bwMode="gray">
          <a:xfrm>
            <a:off x="8126013" y="0"/>
            <a:ext cx="4064400" cy="6209998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10" name="Layer">
            <a:extLst>
              <a:ext uri="{FF2B5EF4-FFF2-40B4-BE49-F238E27FC236}">
                <a16:creationId xmlns:a16="http://schemas.microsoft.com/office/drawing/2014/main" id="{BFB78B13-8321-4CDB-B0F5-4E20651758C3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 bwMode="gray">
          <a:xfrm>
            <a:off x="8126013" y="0"/>
            <a:ext cx="4064400" cy="6209998"/>
          </a:xfrm>
          <a:gradFill flip="none" rotWithShape="1">
            <a:gsLst>
              <a:gs pos="80000">
                <a:schemeClr val="accent1">
                  <a:alpha val="80000"/>
                </a:schemeClr>
              </a:gs>
              <a:gs pos="5000">
                <a:schemeClr val="tx2">
                  <a:alpha val="80000"/>
                </a:schemeClr>
              </a:gs>
            </a:gsLst>
            <a:lin ang="2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algn="l">
              <a:defRPr lang="de-DE" b="1" cap="none" baseline="0" dirty="0"/>
            </a:lvl1pPr>
          </a:lstStyle>
          <a:p>
            <a:pPr marL="0" lvl="0" indent="0" algn="ctr">
              <a:buClr>
                <a:schemeClr val="accent1"/>
              </a:buClr>
              <a:buNone/>
            </a:pPr>
            <a:r>
              <a:rPr lang="de-DE"/>
              <a:t> </a:t>
            </a:r>
          </a:p>
        </p:txBody>
      </p:sp>
      <p:sp>
        <p:nvSpPr>
          <p:cNvPr id="20" name="Inhalt 1">
            <a:extLst>
              <a:ext uri="{FF2B5EF4-FFF2-40B4-BE49-F238E27FC236}">
                <a16:creationId xmlns:a16="http://schemas.microsoft.com/office/drawing/2014/main" id="{ABE3C2FF-24B5-41C9-BE15-E7731BA4E93F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540000" y="1511998"/>
            <a:ext cx="3520825" cy="4698000"/>
          </a:xfrm>
        </p:spPr>
        <p:txBody>
          <a:bodyPr vert="horz" lIns="0" tIns="0" rIns="0" bIns="0" rtlCol="0">
            <a:noAutofit/>
          </a:bodyPr>
          <a:lstStyle>
            <a:lvl1pPr>
              <a:defRPr lang="de-DE" noProof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lang="de-DE" noProof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lang="de-DE" noProof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lang="de-DE" noProof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lang="de-DE" noProof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21" name="Inhalt 2">
            <a:extLst>
              <a:ext uri="{FF2B5EF4-FFF2-40B4-BE49-F238E27FC236}">
                <a16:creationId xmlns:a16="http://schemas.microsoft.com/office/drawing/2014/main" id="{CE1F291D-9D37-4930-A464-37BD1E114E6B}"/>
              </a:ext>
            </a:extLst>
          </p:cNvPr>
          <p:cNvSpPr>
            <a:spLocks noGrp="1"/>
          </p:cNvSpPr>
          <p:nvPr>
            <p:ph idx="14"/>
          </p:nvPr>
        </p:nvSpPr>
        <p:spPr bwMode="gray">
          <a:xfrm>
            <a:off x="4334794" y="1511998"/>
            <a:ext cx="3520825" cy="4698000"/>
          </a:xfrm>
        </p:spPr>
        <p:txBody>
          <a:bodyPr vert="horz" lIns="0" tIns="0" rIns="0" bIns="0" rtlCol="0">
            <a:noAutofit/>
          </a:bodyPr>
          <a:lstStyle>
            <a:lvl1pPr>
              <a:defRPr lang="de-DE" noProof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lang="de-DE" noProof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lang="de-DE" noProof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lang="de-DE" noProof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lang="de-DE" noProof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2" name="Titel"/>
          <p:cNvSpPr>
            <a:spLocks noGrp="1"/>
          </p:cNvSpPr>
          <p:nvPr>
            <p:ph type="title" hasCustomPrompt="1"/>
          </p:nvPr>
        </p:nvSpPr>
        <p:spPr bwMode="gray">
          <a:xfrm>
            <a:off x="539999" y="432000"/>
            <a:ext cx="7315619" cy="792000"/>
          </a:xfrm>
        </p:spPr>
        <p:txBody>
          <a:bodyPr/>
          <a:lstStyle>
            <a:lvl1pPr>
              <a:defRPr cap="none" baseline="0"/>
            </a:lvl1pPr>
          </a:lstStyle>
          <a:p>
            <a:r>
              <a:rPr lang="de-DE" noProof="0"/>
              <a:t>Titelmasterformat durch Klicken bearbeiten</a:t>
            </a:r>
          </a:p>
        </p:txBody>
      </p:sp>
      <p:sp>
        <p:nvSpPr>
          <p:cNvPr id="13" name="Untertitel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39999" y="828000"/>
            <a:ext cx="7315619" cy="396000"/>
          </a:xfrm>
        </p:spPr>
        <p:txBody>
          <a:bodyPr vert="horz" lIns="0" tIns="0" rIns="0" bIns="0" rtlCol="0">
            <a:noAutofit/>
          </a:bodyPr>
          <a:lstStyle>
            <a:lvl1pPr>
              <a:defRPr lang="de-DE" sz="2000" b="1" baseline="0" noProof="0" dirty="0">
                <a:solidFill>
                  <a:schemeClr val="accent1"/>
                </a:solidFill>
              </a:defRPr>
            </a:lvl1pPr>
          </a:lstStyle>
          <a:p>
            <a:pPr marL="0" lvl="0" indent="0">
              <a:buNone/>
            </a:pPr>
            <a:r>
              <a:rPr lang="de-DE" noProof="0"/>
              <a:t>Geben Sie Ihren Untertitel ein</a:t>
            </a:r>
          </a:p>
        </p:txBody>
      </p:sp>
    </p:spTree>
    <p:extLst>
      <p:ext uri="{BB962C8B-B14F-4D97-AF65-F5344CB8AC3E}">
        <p14:creationId xmlns:p14="http://schemas.microsoft.com/office/powerpoint/2010/main" val="3821079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&amp; BILD |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">
            <a:extLst>
              <a:ext uri="{FF2B5EF4-FFF2-40B4-BE49-F238E27FC236}">
                <a16:creationId xmlns:a16="http://schemas.microsoft.com/office/drawing/2014/main" id="{A396F3DE-062E-4905-BAD7-7BA8958C57AC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 bwMode="gray">
          <a:xfrm>
            <a:off x="4064400" y="0"/>
            <a:ext cx="8126013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5" name="Layer">
            <a:extLst>
              <a:ext uri="{FF2B5EF4-FFF2-40B4-BE49-F238E27FC236}">
                <a16:creationId xmlns:a16="http://schemas.microsoft.com/office/drawing/2014/main" id="{1544F365-185B-4399-B7AD-660EFF842FDE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 bwMode="gray">
          <a:xfrm>
            <a:off x="4064399" y="0"/>
            <a:ext cx="8126013" cy="6858000"/>
          </a:xfrm>
          <a:gradFill flip="none" rotWithShape="1">
            <a:gsLst>
              <a:gs pos="80000">
                <a:schemeClr val="accent1">
                  <a:alpha val="80000"/>
                </a:schemeClr>
              </a:gs>
              <a:gs pos="5000">
                <a:schemeClr val="tx2">
                  <a:alpha val="80000"/>
                </a:schemeClr>
              </a:gs>
            </a:gsLst>
            <a:lin ang="2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de-DE" b="1" cap="none" baseline="0" dirty="0"/>
            </a:lvl1pPr>
          </a:lstStyle>
          <a:p>
            <a:pPr marL="270000" lvl="0" indent="-270000" algn="ctr">
              <a:buClr>
                <a:schemeClr val="accent1"/>
              </a:buClr>
            </a:pPr>
            <a:r>
              <a:rPr lang="de-DE"/>
              <a:t> </a:t>
            </a:r>
          </a:p>
        </p:txBody>
      </p:sp>
      <p:sp>
        <p:nvSpPr>
          <p:cNvPr id="6" name="Textplatzhalter">
            <a:extLst>
              <a:ext uri="{FF2B5EF4-FFF2-40B4-BE49-F238E27FC236}">
                <a16:creationId xmlns:a16="http://schemas.microsoft.com/office/drawing/2014/main" id="{75BE07CA-6B56-46BF-8EED-69D5D63CE79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0" y="0"/>
            <a:ext cx="4064400" cy="6858000"/>
          </a:xfrm>
          <a:solidFill>
            <a:schemeClr val="accent2">
              <a:alpha val="80000"/>
            </a:schemeClr>
          </a:solidFill>
        </p:spPr>
        <p:txBody>
          <a:bodyPr lIns="540000" rIns="540000" anchor="ctr" anchorCtr="0"/>
          <a:lstStyle>
            <a:lvl1pPr marL="0" indent="0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/>
              <a:t>Mastertextformat </a:t>
            </a:r>
            <a:br>
              <a:rPr lang="de-DE"/>
            </a:br>
            <a:r>
              <a:rPr lang="de-DE"/>
              <a:t>bearbeiten</a:t>
            </a:r>
          </a:p>
        </p:txBody>
      </p:sp>
      <p:sp>
        <p:nvSpPr>
          <p:cNvPr id="7" name="Fußzeilenplatzhalter">
            <a:extLst>
              <a:ext uri="{FF2B5EF4-FFF2-40B4-BE49-F238E27FC236}">
                <a16:creationId xmlns:a16="http://schemas.microsoft.com/office/drawing/2014/main" id="{23C084F5-8800-4111-BE79-B69CA042EC2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1126674" y="6390000"/>
            <a:ext cx="496853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/>
              <a:t>© Heinz Nixdorf Institut / Fraunhofer IEM</a:t>
            </a:r>
          </a:p>
        </p:txBody>
      </p:sp>
      <p:sp>
        <p:nvSpPr>
          <p:cNvPr id="9" name="Strich">
            <a:extLst>
              <a:ext uri="{FF2B5EF4-FFF2-40B4-BE49-F238E27FC236}">
                <a16:creationId xmlns:a16="http://schemas.microsoft.com/office/drawing/2014/main" id="{8398CD4A-B45B-4DDC-B9A9-67E65FAF3701}"/>
              </a:ext>
            </a:extLst>
          </p:cNvPr>
          <p:cNvSpPr>
            <a:spLocks noGrp="1"/>
          </p:cNvSpPr>
          <p:nvPr>
            <p:ph sz="quarter" idx="38" hasCustomPrompt="1"/>
          </p:nvPr>
        </p:nvSpPr>
        <p:spPr bwMode="gray">
          <a:xfrm>
            <a:off x="941337" y="6426000"/>
            <a:ext cx="10800" cy="21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  <a:lvl2pPr marL="266700" indent="0">
              <a:buNone/>
              <a:defRPr/>
            </a:lvl2pPr>
            <a:lvl3pPr marL="542925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8" name="Foliennummernplatzhalter">
            <a:extLst>
              <a:ext uri="{FF2B5EF4-FFF2-40B4-BE49-F238E27FC236}">
                <a16:creationId xmlns:a16="http://schemas.microsoft.com/office/drawing/2014/main" id="{A0EBC8B6-7E92-4451-95A2-76E5AF6CBE9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40000" y="6390000"/>
            <a:ext cx="22680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600">
                <a:solidFill>
                  <a:schemeClr val="bg1"/>
                </a:solidFill>
              </a:defRPr>
            </a:lvl1pPr>
          </a:lstStyle>
          <a:p>
            <a:fld id="{65685BD5-7F70-499C-8F04-1460C72EE5D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6710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&amp; BILD |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">
            <a:extLst>
              <a:ext uri="{FF2B5EF4-FFF2-40B4-BE49-F238E27FC236}">
                <a16:creationId xmlns:a16="http://schemas.microsoft.com/office/drawing/2014/main" id="{A396F3DE-062E-4905-BAD7-7BA8958C57AC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 bwMode="gray">
          <a:xfrm>
            <a:off x="4064400" y="0"/>
            <a:ext cx="8126013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5" name="Layer">
            <a:extLst>
              <a:ext uri="{FF2B5EF4-FFF2-40B4-BE49-F238E27FC236}">
                <a16:creationId xmlns:a16="http://schemas.microsoft.com/office/drawing/2014/main" id="{D118217A-0EC2-436A-AF3A-8BCAD323CAD4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 bwMode="gray">
          <a:xfrm>
            <a:off x="4064399" y="0"/>
            <a:ext cx="8126013" cy="6858000"/>
          </a:xfrm>
          <a:gradFill flip="none" rotWithShape="1">
            <a:gsLst>
              <a:gs pos="80000">
                <a:schemeClr val="accent1">
                  <a:alpha val="80000"/>
                </a:schemeClr>
              </a:gs>
              <a:gs pos="5000">
                <a:schemeClr val="tx2">
                  <a:alpha val="80000"/>
                </a:schemeClr>
              </a:gs>
            </a:gsLst>
            <a:lin ang="2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de-DE" b="1" cap="none" baseline="0" dirty="0"/>
            </a:lvl1pPr>
          </a:lstStyle>
          <a:p>
            <a:pPr marL="270000" lvl="0" indent="-270000" algn="ctr">
              <a:buClr>
                <a:schemeClr val="accent1"/>
              </a:buClr>
            </a:pPr>
            <a:r>
              <a:rPr lang="de-DE"/>
              <a:t> </a:t>
            </a:r>
          </a:p>
        </p:txBody>
      </p:sp>
      <p:sp>
        <p:nvSpPr>
          <p:cNvPr id="6" name="Textplatzhalter">
            <a:extLst>
              <a:ext uri="{FF2B5EF4-FFF2-40B4-BE49-F238E27FC236}">
                <a16:creationId xmlns:a16="http://schemas.microsoft.com/office/drawing/2014/main" id="{75BE07CA-6B56-46BF-8EED-69D5D63CE79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0" y="0"/>
            <a:ext cx="4064400" cy="6858000"/>
          </a:xfrm>
          <a:solidFill>
            <a:schemeClr val="accent5">
              <a:alpha val="80000"/>
            </a:schemeClr>
          </a:solidFill>
        </p:spPr>
        <p:txBody>
          <a:bodyPr lIns="540000" rIns="540000" anchor="ctr" anchorCtr="0"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/>
              <a:t>Mastertextformat </a:t>
            </a:r>
            <a:br>
              <a:rPr lang="de-DE"/>
            </a:br>
            <a:r>
              <a:rPr lang="de-DE"/>
              <a:t>bearbeiten</a:t>
            </a:r>
          </a:p>
        </p:txBody>
      </p:sp>
      <p:sp>
        <p:nvSpPr>
          <p:cNvPr id="7" name="Fußzeilenplatzhalter">
            <a:extLst>
              <a:ext uri="{FF2B5EF4-FFF2-40B4-BE49-F238E27FC236}">
                <a16:creationId xmlns:a16="http://schemas.microsoft.com/office/drawing/2014/main" id="{F99CB3B4-619C-4F77-A622-5A9D3BAF3C9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1126674" y="6390000"/>
            <a:ext cx="496853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/>
              <a:t>© Heinz Nixdorf Institut / Fraunhofer IEM</a:t>
            </a:r>
          </a:p>
        </p:txBody>
      </p:sp>
      <p:sp>
        <p:nvSpPr>
          <p:cNvPr id="9" name="Strich">
            <a:extLst>
              <a:ext uri="{FF2B5EF4-FFF2-40B4-BE49-F238E27FC236}">
                <a16:creationId xmlns:a16="http://schemas.microsoft.com/office/drawing/2014/main" id="{ADE638DA-4BF1-4F5B-81CB-D06A280BEA29}"/>
              </a:ext>
            </a:extLst>
          </p:cNvPr>
          <p:cNvSpPr>
            <a:spLocks noGrp="1"/>
          </p:cNvSpPr>
          <p:nvPr>
            <p:ph sz="quarter" idx="38" hasCustomPrompt="1"/>
          </p:nvPr>
        </p:nvSpPr>
        <p:spPr bwMode="gray">
          <a:xfrm>
            <a:off x="941337" y="6426000"/>
            <a:ext cx="10800" cy="21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  <a:lvl2pPr marL="266700" indent="0">
              <a:buNone/>
              <a:defRPr/>
            </a:lvl2pPr>
            <a:lvl3pPr marL="542925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8" name="Foliennummernplatzhalter">
            <a:extLst>
              <a:ext uri="{FF2B5EF4-FFF2-40B4-BE49-F238E27FC236}">
                <a16:creationId xmlns:a16="http://schemas.microsoft.com/office/drawing/2014/main" id="{C8679816-5449-467A-8206-074AE218F11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40000" y="6390000"/>
            <a:ext cx="22680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600">
                <a:solidFill>
                  <a:schemeClr val="bg1"/>
                </a:solidFill>
              </a:defRPr>
            </a:lvl1pPr>
          </a:lstStyle>
          <a:p>
            <a:fld id="{65685BD5-7F70-499C-8F04-1460C72EE5D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38864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mi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78263" y="476823"/>
            <a:ext cx="11021384" cy="1008140"/>
          </a:xfrm>
          <a:noFill/>
        </p:spPr>
        <p:txBody>
          <a:bodyPr/>
          <a:lstStyle>
            <a:lvl1pPr marL="0" indent="0">
              <a:defRPr sz="320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noProof="0"/>
              <a:t>Titelmasterformat durch Klicken bearbeiten</a:t>
            </a:r>
          </a:p>
        </p:txBody>
      </p:sp>
      <p:sp>
        <p:nvSpPr>
          <p:cNvPr id="10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78263" y="1773238"/>
            <a:ext cx="11021384" cy="647622"/>
          </a:xfrm>
        </p:spPr>
        <p:txBody>
          <a:bodyPr/>
          <a:lstStyle>
            <a:lvl1pPr marL="0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noProof="0"/>
              <a:t>Formatvorlage des Untertitelmasters durch Klicken bearbeiten</a:t>
            </a:r>
          </a:p>
        </p:txBody>
      </p:sp>
      <p:sp>
        <p:nvSpPr>
          <p:cNvPr id="14" name="Line 7"/>
          <p:cNvSpPr>
            <a:spLocks noChangeShapeType="1"/>
          </p:cNvSpPr>
          <p:nvPr userDrawn="1"/>
        </p:nvSpPr>
        <p:spPr bwMode="auto">
          <a:xfrm flipV="1">
            <a:off x="575925" y="404580"/>
            <a:ext cx="11036225" cy="0"/>
          </a:xfrm>
          <a:prstGeom prst="line">
            <a:avLst/>
          </a:prstGeom>
          <a:noFill/>
          <a:ln w="5080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800"/>
          </a:p>
        </p:txBody>
      </p:sp>
      <p:sp>
        <p:nvSpPr>
          <p:cNvPr id="15" name="Line 7"/>
          <p:cNvSpPr>
            <a:spLocks noChangeShapeType="1"/>
          </p:cNvSpPr>
          <p:nvPr userDrawn="1"/>
        </p:nvSpPr>
        <p:spPr bwMode="auto">
          <a:xfrm flipV="1">
            <a:off x="575925" y="2492870"/>
            <a:ext cx="11036225" cy="0"/>
          </a:xfrm>
          <a:prstGeom prst="line">
            <a:avLst/>
          </a:prstGeom>
          <a:noFill/>
          <a:ln w="1270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800"/>
          </a:p>
        </p:txBody>
      </p:sp>
      <p:sp>
        <p:nvSpPr>
          <p:cNvPr id="17" name="Text Box 8"/>
          <p:cNvSpPr txBox="1">
            <a:spLocks noChangeArrowheads="1"/>
          </p:cNvSpPr>
          <p:nvPr userDrawn="1"/>
        </p:nvSpPr>
        <p:spPr bwMode="auto">
          <a:xfrm>
            <a:off x="562634" y="6453421"/>
            <a:ext cx="385583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>
              <a:spcBef>
                <a:spcPts val="0"/>
              </a:spcBef>
              <a:spcAft>
                <a:spcPct val="0"/>
              </a:spcAft>
              <a:buFontTx/>
              <a:buNone/>
            </a:pPr>
            <a:r>
              <a:rPr lang="de-DE" sz="800">
                <a:solidFill>
                  <a:schemeClr val="bg2"/>
                </a:solidFill>
                <a:latin typeface="+mn-lt"/>
              </a:rPr>
              <a:t>© Fraunhofer IEM / Heinz Nixdorf Institut</a:t>
            </a:r>
          </a:p>
          <a:p>
            <a:pPr>
              <a:spcBef>
                <a:spcPts val="0"/>
              </a:spcBef>
              <a:spcAft>
                <a:spcPct val="0"/>
              </a:spcAft>
              <a:buFontTx/>
              <a:buNone/>
            </a:pPr>
            <a:r>
              <a:rPr lang="de-DE" sz="800">
                <a:solidFill>
                  <a:schemeClr val="bg2"/>
                </a:solidFill>
                <a:latin typeface="+mn-lt"/>
              </a:rPr>
              <a:t>Folie </a:t>
            </a:r>
            <a:fld id="{465E0D68-ABFE-4BAD-A58E-05251C14C1FA}" type="slidenum">
              <a:rPr lang="de-DE" sz="800" smtClean="0">
                <a:solidFill>
                  <a:schemeClr val="bg2"/>
                </a:solidFill>
                <a:latin typeface="+mn-lt"/>
              </a:rPr>
              <a:pPr>
                <a:spcBef>
                  <a:spcPts val="0"/>
                </a:spcBef>
                <a:spcAft>
                  <a:spcPct val="0"/>
                </a:spcAft>
                <a:buFontTx/>
                <a:buNone/>
              </a:pPr>
              <a:t>‹#›</a:t>
            </a:fld>
            <a:r>
              <a:rPr lang="de-DE" sz="800">
                <a:solidFill>
                  <a:schemeClr val="bg2"/>
                </a:solidFill>
                <a:latin typeface="+mn-lt"/>
              </a:rPr>
              <a:t> </a:t>
            </a:r>
          </a:p>
        </p:txBody>
      </p:sp>
      <p:sp>
        <p:nvSpPr>
          <p:cNvPr id="18" name="Line 7"/>
          <p:cNvSpPr>
            <a:spLocks noChangeShapeType="1"/>
          </p:cNvSpPr>
          <p:nvPr userDrawn="1"/>
        </p:nvSpPr>
        <p:spPr bwMode="auto">
          <a:xfrm flipV="1">
            <a:off x="575925" y="6165380"/>
            <a:ext cx="11036225" cy="0"/>
          </a:xfrm>
          <a:prstGeom prst="line">
            <a:avLst/>
          </a:prstGeom>
          <a:noFill/>
          <a:ln w="3175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800"/>
          </a:p>
        </p:txBody>
      </p:sp>
      <p:pic>
        <p:nvPicPr>
          <p:cNvPr id="59" name="Grafik 5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23249" y="6300000"/>
            <a:ext cx="1884097" cy="419960"/>
          </a:xfrm>
          <a:prstGeom prst="rect">
            <a:avLst/>
          </a:prstGeom>
        </p:spPr>
      </p:pic>
      <p:pic>
        <p:nvPicPr>
          <p:cNvPr id="60" name="Grafik 5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4490" y="6385933"/>
            <a:ext cx="1949285" cy="248094"/>
          </a:xfrm>
          <a:prstGeom prst="rect">
            <a:avLst/>
          </a:prstGeom>
        </p:spPr>
      </p:pic>
      <p:sp>
        <p:nvSpPr>
          <p:cNvPr id="2" name="Rechteck 1"/>
          <p:cNvSpPr/>
          <p:nvPr userDrawn="1"/>
        </p:nvSpPr>
        <p:spPr>
          <a:xfrm>
            <a:off x="2356063" y="3645025"/>
            <a:ext cx="747828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40385" marR="539115">
              <a:lnSpc>
                <a:spcPct val="120000"/>
              </a:lnSpc>
              <a:spcBef>
                <a:spcPts val="2400"/>
              </a:spcBef>
              <a:spcAft>
                <a:spcPts val="800"/>
              </a:spcAft>
            </a:pPr>
            <a:r>
              <a:rPr lang="de-DE" sz="2000" b="0" i="1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„Die größte Gefahr in turbulenten Zeiten ist nicht die Turbulenz - Es ist das Handeln mit der Logik von gestern.“ </a:t>
            </a:r>
            <a:r>
              <a:rPr lang="de-DE" sz="2000" b="0" i="0" baseline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sz="2000" b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Peter Drucker      </a:t>
            </a:r>
            <a:endParaRPr lang="de-DE" sz="2000">
              <a:latin typeface="+mj-lt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6122333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&amp; BILD |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">
            <a:extLst>
              <a:ext uri="{FF2B5EF4-FFF2-40B4-BE49-F238E27FC236}">
                <a16:creationId xmlns:a16="http://schemas.microsoft.com/office/drawing/2014/main" id="{00809997-D71A-47FF-AED9-FB350BF37DAD}"/>
              </a:ext>
            </a:extLst>
          </p:cNvPr>
          <p:cNvSpPr>
            <a:spLocks noGrp="1" noChangeAspect="1"/>
          </p:cNvSpPr>
          <p:nvPr>
            <p:ph type="pic" sz="quarter" idx="17"/>
          </p:nvPr>
        </p:nvSpPr>
        <p:spPr bwMode="gray">
          <a:xfrm>
            <a:off x="0" y="0"/>
            <a:ext cx="12190413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4" name="Layer">
            <a:extLst>
              <a:ext uri="{FF2B5EF4-FFF2-40B4-BE49-F238E27FC236}">
                <a16:creationId xmlns:a16="http://schemas.microsoft.com/office/drawing/2014/main" id="{5AE47B76-6EA9-4751-9B94-8136010C6DFD}"/>
              </a:ext>
            </a:extLst>
          </p:cNvPr>
          <p:cNvSpPr>
            <a:spLocks noGrp="1" noChangeAspect="1"/>
          </p:cNvSpPr>
          <p:nvPr>
            <p:ph type="body" sz="quarter" idx="24" hasCustomPrompt="1"/>
          </p:nvPr>
        </p:nvSpPr>
        <p:spPr bwMode="gray">
          <a:xfrm>
            <a:off x="0" y="0"/>
            <a:ext cx="6095205" cy="6858000"/>
          </a:xfrm>
          <a:gradFill flip="none" rotWithShape="1">
            <a:gsLst>
              <a:gs pos="80000">
                <a:schemeClr val="accent1">
                  <a:alpha val="80000"/>
                </a:schemeClr>
              </a:gs>
              <a:gs pos="5000">
                <a:schemeClr val="tx2">
                  <a:alpha val="80000"/>
                </a:schemeClr>
              </a:gs>
            </a:gsLst>
            <a:lin ang="2400000" scaled="0"/>
            <a:tileRect/>
          </a:gradFill>
        </p:spPr>
        <p:txBody>
          <a:bodyPr vert="horz" lIns="36000" tIns="36000" rIns="36000" bIns="36000" rtlCol="0" anchor="t" anchorCtr="0">
            <a:noAutofit/>
          </a:bodyPr>
          <a:lstStyle>
            <a:lvl1pPr marL="0" indent="0">
              <a:buNone/>
              <a:defRPr lang="de-DE" b="0" dirty="0">
                <a:solidFill>
                  <a:schemeClr val="bg1"/>
                </a:solidFill>
              </a:defRPr>
            </a:lvl1pPr>
          </a:lstStyle>
          <a:p>
            <a:pPr marL="270000" lvl="0" indent="-270000"/>
            <a:r>
              <a:rPr lang="de-DE"/>
              <a:t> </a:t>
            </a:r>
          </a:p>
        </p:txBody>
      </p:sp>
      <p:sp>
        <p:nvSpPr>
          <p:cNvPr id="9" name="Fußzeilenplatzhalter">
            <a:extLst>
              <a:ext uri="{FF2B5EF4-FFF2-40B4-BE49-F238E27FC236}">
                <a16:creationId xmlns:a16="http://schemas.microsoft.com/office/drawing/2014/main" id="{1EBA265A-7916-402B-AB36-10F9A1B9CD1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1126674" y="6390000"/>
            <a:ext cx="496853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/>
              <a:t>© Heinz Nixdorf Institut / Fraunhofer IEM</a:t>
            </a:r>
          </a:p>
        </p:txBody>
      </p:sp>
      <p:sp>
        <p:nvSpPr>
          <p:cNvPr id="11" name="Strich">
            <a:extLst>
              <a:ext uri="{FF2B5EF4-FFF2-40B4-BE49-F238E27FC236}">
                <a16:creationId xmlns:a16="http://schemas.microsoft.com/office/drawing/2014/main" id="{2035639A-745C-442B-90A2-C5DAC3C60A7E}"/>
              </a:ext>
            </a:extLst>
          </p:cNvPr>
          <p:cNvSpPr>
            <a:spLocks noGrp="1"/>
          </p:cNvSpPr>
          <p:nvPr>
            <p:ph sz="quarter" idx="38" hasCustomPrompt="1"/>
          </p:nvPr>
        </p:nvSpPr>
        <p:spPr bwMode="gray">
          <a:xfrm>
            <a:off x="941337" y="6426000"/>
            <a:ext cx="10800" cy="21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  <a:lvl2pPr marL="266700" indent="0">
              <a:buNone/>
              <a:defRPr/>
            </a:lvl2pPr>
            <a:lvl3pPr marL="542925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10" name="Foliennummernplatzhalter">
            <a:extLst>
              <a:ext uri="{FF2B5EF4-FFF2-40B4-BE49-F238E27FC236}">
                <a16:creationId xmlns:a16="http://schemas.microsoft.com/office/drawing/2014/main" id="{3A2878AA-AD9D-419E-8E0A-BFDE1942D74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40000" y="6390000"/>
            <a:ext cx="22680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600">
                <a:solidFill>
                  <a:schemeClr val="bg1"/>
                </a:solidFill>
              </a:defRPr>
            </a:lvl1pPr>
          </a:lstStyle>
          <a:p>
            <a:fld id="{65685BD5-7F70-499C-8F04-1460C72EE5D6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extplatzhalter">
            <a:extLst>
              <a:ext uri="{FF2B5EF4-FFF2-40B4-BE49-F238E27FC236}">
                <a16:creationId xmlns:a16="http://schemas.microsoft.com/office/drawing/2014/main" id="{5A998F00-EC8E-4EC4-B3E7-55A80C822A63}"/>
              </a:ext>
            </a:extLst>
          </p:cNvPr>
          <p:cNvSpPr>
            <a:spLocks noGrp="1" noChangeAspect="1"/>
          </p:cNvSpPr>
          <p:nvPr>
            <p:ph type="body" sz="quarter" idx="20" hasCustomPrompt="1"/>
          </p:nvPr>
        </p:nvSpPr>
        <p:spPr bwMode="gray">
          <a:xfrm>
            <a:off x="1428404" y="1428404"/>
            <a:ext cx="3238397" cy="4001192"/>
          </a:xfrm>
          <a:solidFill>
            <a:schemeClr val="bg1"/>
          </a:solidFill>
          <a:ln w="38100" cap="sq">
            <a:solidFill>
              <a:schemeClr val="accent6"/>
            </a:solidFill>
            <a:miter lim="800000"/>
          </a:ln>
        </p:spPr>
        <p:txBody>
          <a:bodyPr lIns="360000" tIns="360000" rIns="360000" bIns="360000" anchor="ctr" anchorCtr="0"/>
          <a:lstStyle>
            <a:lvl1pPr marL="0" indent="0" algn="l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de-DE"/>
              <a:t>Mastertext</a:t>
            </a:r>
            <a:br>
              <a:rPr lang="de-DE"/>
            </a:br>
            <a:r>
              <a:rPr lang="de-DE"/>
              <a:t>bearbeiten</a:t>
            </a:r>
          </a:p>
        </p:txBody>
      </p:sp>
    </p:spTree>
    <p:extLst>
      <p:ext uri="{BB962C8B-B14F-4D97-AF65-F5344CB8AC3E}">
        <p14:creationId xmlns:p14="http://schemas.microsoft.com/office/powerpoint/2010/main" val="2002693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&amp; BILD |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">
            <a:extLst>
              <a:ext uri="{FF2B5EF4-FFF2-40B4-BE49-F238E27FC236}">
                <a16:creationId xmlns:a16="http://schemas.microsoft.com/office/drawing/2014/main" id="{00809997-D71A-47FF-AED9-FB350BF37DAD}"/>
              </a:ext>
            </a:extLst>
          </p:cNvPr>
          <p:cNvSpPr>
            <a:spLocks noGrp="1" noChangeAspect="1"/>
          </p:cNvSpPr>
          <p:nvPr>
            <p:ph type="pic" sz="quarter" idx="17"/>
          </p:nvPr>
        </p:nvSpPr>
        <p:spPr bwMode="gray">
          <a:xfrm>
            <a:off x="6095205" y="0"/>
            <a:ext cx="6095208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4" name="Layer">
            <a:extLst>
              <a:ext uri="{FF2B5EF4-FFF2-40B4-BE49-F238E27FC236}">
                <a16:creationId xmlns:a16="http://schemas.microsoft.com/office/drawing/2014/main" id="{5AE47B76-6EA9-4751-9B94-8136010C6DFD}"/>
              </a:ext>
            </a:extLst>
          </p:cNvPr>
          <p:cNvSpPr>
            <a:spLocks noGrp="1" noChangeAspect="1"/>
          </p:cNvSpPr>
          <p:nvPr>
            <p:ph type="body" sz="quarter" idx="24" hasCustomPrompt="1"/>
          </p:nvPr>
        </p:nvSpPr>
        <p:spPr bwMode="gray">
          <a:xfrm>
            <a:off x="6095208" y="0"/>
            <a:ext cx="6095205" cy="6858000"/>
          </a:xfrm>
          <a:gradFill flip="none" rotWithShape="1">
            <a:gsLst>
              <a:gs pos="80000">
                <a:schemeClr val="accent1">
                  <a:alpha val="80000"/>
                </a:schemeClr>
              </a:gs>
              <a:gs pos="5000">
                <a:schemeClr val="tx2">
                  <a:alpha val="80000"/>
                </a:schemeClr>
              </a:gs>
            </a:gsLst>
            <a:lin ang="2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de-DE" b="1" cap="none" baseline="0" dirty="0">
                <a:solidFill>
                  <a:schemeClr val="lt1"/>
                </a:solidFill>
              </a:defRPr>
            </a:lvl1pPr>
          </a:lstStyle>
          <a:p>
            <a:pPr marL="270000" lvl="0" indent="-270000" algn="ctr">
              <a:buClr>
                <a:schemeClr val="accent1"/>
              </a:buClr>
            </a:pPr>
            <a:r>
              <a:rPr lang="de-DE"/>
              <a:t> </a:t>
            </a:r>
          </a:p>
        </p:txBody>
      </p:sp>
      <p:sp>
        <p:nvSpPr>
          <p:cNvPr id="6" name="Fußzeilenplatzhalter">
            <a:extLst>
              <a:ext uri="{FF2B5EF4-FFF2-40B4-BE49-F238E27FC236}">
                <a16:creationId xmlns:a16="http://schemas.microsoft.com/office/drawing/2014/main" id="{5C1CC671-2B64-4B33-ABF9-AC88A46D9D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1126674" y="6390000"/>
            <a:ext cx="496853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e-DE"/>
              <a:t>© Heinz Nixdorf Institut / Fraunhofer IEM</a:t>
            </a:r>
          </a:p>
        </p:txBody>
      </p:sp>
      <p:sp>
        <p:nvSpPr>
          <p:cNvPr id="9" name="Strich">
            <a:extLst>
              <a:ext uri="{FF2B5EF4-FFF2-40B4-BE49-F238E27FC236}">
                <a16:creationId xmlns:a16="http://schemas.microsoft.com/office/drawing/2014/main" id="{E948C582-01A4-4FBE-BF0E-00C323C19A09}"/>
              </a:ext>
            </a:extLst>
          </p:cNvPr>
          <p:cNvSpPr>
            <a:spLocks noGrp="1"/>
          </p:cNvSpPr>
          <p:nvPr>
            <p:ph sz="quarter" idx="38" hasCustomPrompt="1"/>
          </p:nvPr>
        </p:nvSpPr>
        <p:spPr bwMode="gray">
          <a:xfrm>
            <a:off x="941337" y="6426000"/>
            <a:ext cx="10800" cy="216000"/>
          </a:xfrm>
          <a:solidFill>
            <a:schemeClr val="tx1">
              <a:lumMod val="75000"/>
              <a:lumOff val="25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  <a:lvl2pPr marL="266700" indent="0">
              <a:buNone/>
              <a:defRPr/>
            </a:lvl2pPr>
            <a:lvl3pPr marL="542925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7" name="Foliennummernplatzhalter">
            <a:extLst>
              <a:ext uri="{FF2B5EF4-FFF2-40B4-BE49-F238E27FC236}">
                <a16:creationId xmlns:a16="http://schemas.microsoft.com/office/drawing/2014/main" id="{9BAB1095-3BA7-4342-B0A2-B67B5C8DFD3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40000" y="6390000"/>
            <a:ext cx="22680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65685BD5-7F70-499C-8F04-1460C72EE5D6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extplatzhalter">
            <a:extLst>
              <a:ext uri="{FF2B5EF4-FFF2-40B4-BE49-F238E27FC236}">
                <a16:creationId xmlns:a16="http://schemas.microsoft.com/office/drawing/2014/main" id="{5A998F00-EC8E-4EC4-B3E7-55A80C822A63}"/>
              </a:ext>
            </a:extLst>
          </p:cNvPr>
          <p:cNvSpPr>
            <a:spLocks noGrp="1" noChangeAspect="1"/>
          </p:cNvSpPr>
          <p:nvPr>
            <p:ph type="body" sz="quarter" idx="20" hasCustomPrompt="1"/>
          </p:nvPr>
        </p:nvSpPr>
        <p:spPr bwMode="gray">
          <a:xfrm>
            <a:off x="1428404" y="1428404"/>
            <a:ext cx="3238398" cy="4001192"/>
          </a:xfrm>
          <a:ln w="38100">
            <a:gradFill flip="none" rotWithShape="1">
              <a:gsLst>
                <a:gs pos="5000">
                  <a:schemeClr val="tx2"/>
                </a:gs>
                <a:gs pos="80000">
                  <a:schemeClr val="accent1"/>
                </a:gs>
              </a:gsLst>
              <a:lin ang="2400000" scaled="0"/>
              <a:tileRect/>
            </a:gradFill>
            <a:miter lim="800000"/>
          </a:ln>
        </p:spPr>
        <p:txBody>
          <a:bodyPr vert="horz" lIns="360000" tIns="360000" rIns="360000" bIns="360000" rtlCol="0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/>
              <a:t>Mastertext</a:t>
            </a:r>
            <a:br>
              <a:rPr lang="de-DE"/>
            </a:br>
            <a:r>
              <a:rPr lang="de-DE"/>
              <a:t>bearbeiten</a:t>
            </a:r>
          </a:p>
        </p:txBody>
      </p:sp>
    </p:spTree>
    <p:extLst>
      <p:ext uri="{BB962C8B-B14F-4D97-AF65-F5344CB8AC3E}">
        <p14:creationId xmlns:p14="http://schemas.microsoft.com/office/powerpoint/2010/main" val="3598189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">
            <a:extLst>
              <a:ext uri="{FF2B5EF4-FFF2-40B4-BE49-F238E27FC236}">
                <a16:creationId xmlns:a16="http://schemas.microsoft.com/office/drawing/2014/main" id="{5538625F-D6DB-4447-9603-7F187636CD39}"/>
              </a:ext>
            </a:extLst>
          </p:cNvPr>
          <p:cNvSpPr>
            <a:spLocks noGrp="1" noChangeAspect="1"/>
          </p:cNvSpPr>
          <p:nvPr>
            <p:ph type="pic" sz="quarter" idx="25"/>
          </p:nvPr>
        </p:nvSpPr>
        <p:spPr bwMode="gray">
          <a:xfrm>
            <a:off x="0" y="0"/>
            <a:ext cx="12190413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88BB015-E458-4DF9-957B-A4D7F8F72270}"/>
              </a:ext>
            </a:extLst>
          </p:cNvPr>
          <p:cNvSpPr>
            <a:spLocks noGrp="1" noChangeAspect="1"/>
          </p:cNvSpPr>
          <p:nvPr>
            <p:ph type="body" sz="quarter" idx="24"/>
          </p:nvPr>
        </p:nvSpPr>
        <p:spPr bwMode="gray">
          <a:xfrm>
            <a:off x="0" y="0"/>
            <a:ext cx="6095205" cy="6858000"/>
          </a:xfrm>
          <a:gradFill flip="none" rotWithShape="1">
            <a:gsLst>
              <a:gs pos="80000">
                <a:schemeClr val="accent1">
                  <a:alpha val="80000"/>
                </a:schemeClr>
              </a:gs>
              <a:gs pos="5000">
                <a:schemeClr val="tx2">
                  <a:alpha val="80000"/>
                </a:schemeClr>
              </a:gs>
            </a:gsLst>
            <a:lin ang="2400000" scaled="0"/>
            <a:tileRect/>
          </a:gradFill>
        </p:spPr>
        <p:txBody>
          <a:bodyPr lIns="720000" tIns="720000" rIns="2340000" bIns="720000" anchor="ctr" anchorCtr="0"/>
          <a:lstStyle>
            <a:lvl1pPr marL="0" indent="0" algn="l">
              <a:buNone/>
              <a:defRPr b="1">
                <a:solidFill>
                  <a:schemeClr val="bg1"/>
                </a:solidFill>
              </a:defRPr>
            </a:lvl1pPr>
            <a:lvl2pPr marL="266700" indent="0" algn="l">
              <a:buNone/>
              <a:defRPr>
                <a:solidFill>
                  <a:schemeClr val="bg1"/>
                </a:solidFill>
              </a:defRPr>
            </a:lvl2pPr>
            <a:lvl3pPr marL="542925" indent="0" algn="l">
              <a:buNone/>
              <a:defRPr>
                <a:solidFill>
                  <a:schemeClr val="bg1"/>
                </a:solidFill>
              </a:defRPr>
            </a:lvl3pPr>
            <a:lvl4pPr marL="809625" indent="0" algn="l">
              <a:buNone/>
              <a:defRPr>
                <a:solidFill>
                  <a:schemeClr val="bg1"/>
                </a:solidFill>
              </a:defRPr>
            </a:lvl4pPr>
            <a:lvl5pPr marL="1076325" indent="0" algn="l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Fußzeilenplatzhalter">
            <a:extLst>
              <a:ext uri="{FF2B5EF4-FFF2-40B4-BE49-F238E27FC236}">
                <a16:creationId xmlns:a16="http://schemas.microsoft.com/office/drawing/2014/main" id="{D09B2A9B-132B-47F4-87CB-5FD0A9C96F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1126674" y="6390000"/>
            <a:ext cx="496853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/>
              <a:t>© Heinz Nixdorf Institut / Fraunhofer IEM</a:t>
            </a:r>
          </a:p>
        </p:txBody>
      </p:sp>
      <p:sp>
        <p:nvSpPr>
          <p:cNvPr id="13" name="Strich">
            <a:extLst>
              <a:ext uri="{FF2B5EF4-FFF2-40B4-BE49-F238E27FC236}">
                <a16:creationId xmlns:a16="http://schemas.microsoft.com/office/drawing/2014/main" id="{15D33AD8-60A0-4C44-92A3-4F8495D75884}"/>
              </a:ext>
            </a:extLst>
          </p:cNvPr>
          <p:cNvSpPr>
            <a:spLocks noGrp="1"/>
          </p:cNvSpPr>
          <p:nvPr>
            <p:ph sz="quarter" idx="38" hasCustomPrompt="1"/>
          </p:nvPr>
        </p:nvSpPr>
        <p:spPr bwMode="gray">
          <a:xfrm>
            <a:off x="941337" y="6426000"/>
            <a:ext cx="10800" cy="21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  <a:lvl2pPr marL="266700" indent="0">
              <a:buNone/>
              <a:defRPr/>
            </a:lvl2pPr>
            <a:lvl3pPr marL="542925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12" name="Foliennummernplatzhalter">
            <a:extLst>
              <a:ext uri="{FF2B5EF4-FFF2-40B4-BE49-F238E27FC236}">
                <a16:creationId xmlns:a16="http://schemas.microsoft.com/office/drawing/2014/main" id="{05B95E69-9AEC-42D8-9B47-EEBBAF942BD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40000" y="6390000"/>
            <a:ext cx="22680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600">
                <a:solidFill>
                  <a:schemeClr val="bg1"/>
                </a:solidFill>
              </a:defRPr>
            </a:lvl1pPr>
          </a:lstStyle>
          <a:p>
            <a:fld id="{65685BD5-7F70-499C-8F04-1460C72EE5D6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Textplatzhalter 1">
            <a:extLst>
              <a:ext uri="{FF2B5EF4-FFF2-40B4-BE49-F238E27FC236}">
                <a16:creationId xmlns:a16="http://schemas.microsoft.com/office/drawing/2014/main" id="{BA4A4ED0-8942-48E6-BBFE-B86AF5DACB19}"/>
              </a:ext>
            </a:extLst>
          </p:cNvPr>
          <p:cNvSpPr>
            <a:spLocks noGrp="1" noChangeAspect="1"/>
          </p:cNvSpPr>
          <p:nvPr>
            <p:ph type="body" sz="quarter" idx="20" hasCustomPrompt="1"/>
          </p:nvPr>
        </p:nvSpPr>
        <p:spPr bwMode="gray">
          <a:xfrm>
            <a:off x="4476008" y="1809000"/>
            <a:ext cx="3238397" cy="3240000"/>
          </a:xfrm>
          <a:solidFill>
            <a:schemeClr val="bg1"/>
          </a:solidFill>
          <a:ln w="38100" cap="sq">
            <a:solidFill>
              <a:schemeClr val="accent6"/>
            </a:solidFill>
            <a:miter lim="800000"/>
          </a:ln>
        </p:spPr>
        <p:txBody>
          <a:bodyPr lIns="360000" tIns="360000" rIns="360000" bIns="360000" anchor="ctr" anchorCtr="0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de-DE"/>
              <a:t>Mastertext</a:t>
            </a:r>
            <a:br>
              <a:rPr lang="de-DE"/>
            </a:br>
            <a:r>
              <a:rPr lang="de-DE"/>
              <a:t>bearbeiten</a:t>
            </a:r>
          </a:p>
        </p:txBody>
      </p:sp>
      <p:sp>
        <p:nvSpPr>
          <p:cNvPr id="73" name="Anführungszeichen">
            <a:extLst>
              <a:ext uri="{FF2B5EF4-FFF2-40B4-BE49-F238E27FC236}">
                <a16:creationId xmlns:a16="http://schemas.microsoft.com/office/drawing/2014/main" id="{11C04EB9-560E-44AD-BC06-1E1CAC2323EE}"/>
              </a:ext>
            </a:extLst>
          </p:cNvPr>
          <p:cNvSpPr>
            <a:spLocks noGrp="1" noChangeAspect="1"/>
          </p:cNvSpPr>
          <p:nvPr userDrawn="1">
            <p:ph type="body" sz="quarter" idx="22" hasCustomPrompt="1"/>
          </p:nvPr>
        </p:nvSpPr>
        <p:spPr bwMode="gray">
          <a:xfrm>
            <a:off x="6875322" y="1363364"/>
            <a:ext cx="1068620" cy="896034"/>
          </a:xfrm>
          <a:custGeom>
            <a:avLst/>
            <a:gdLst>
              <a:gd name="connsiteX0" fmla="*/ 575149 w 1068620"/>
              <a:gd name="connsiteY0" fmla="*/ 0 h 896034"/>
              <a:gd name="connsiteX1" fmla="*/ 1068620 w 1068620"/>
              <a:gd name="connsiteY1" fmla="*/ 0 h 896034"/>
              <a:gd name="connsiteX2" fmla="*/ 1068620 w 1068620"/>
              <a:gd name="connsiteY2" fmla="*/ 367856 h 896034"/>
              <a:gd name="connsiteX3" fmla="*/ 981270 w 1068620"/>
              <a:gd name="connsiteY3" fmla="*/ 689045 h 896034"/>
              <a:gd name="connsiteX4" fmla="*/ 682918 w 1068620"/>
              <a:gd name="connsiteY4" fmla="*/ 896034 h 896034"/>
              <a:gd name="connsiteX5" fmla="*/ 575149 w 1068620"/>
              <a:gd name="connsiteY5" fmla="*/ 700576 h 896034"/>
              <a:gd name="connsiteX6" fmla="*/ 756088 w 1068620"/>
              <a:gd name="connsiteY6" fmla="*/ 582531 h 896034"/>
              <a:gd name="connsiteX7" fmla="*/ 811107 w 1068620"/>
              <a:gd name="connsiteY7" fmla="*/ 443625 h 896034"/>
              <a:gd name="connsiteX8" fmla="*/ 575149 w 1068620"/>
              <a:gd name="connsiteY8" fmla="*/ 443625 h 896034"/>
              <a:gd name="connsiteX9" fmla="*/ 0 w 1068620"/>
              <a:gd name="connsiteY9" fmla="*/ 0 h 896034"/>
              <a:gd name="connsiteX10" fmla="*/ 493471 w 1068620"/>
              <a:gd name="connsiteY10" fmla="*/ 0 h 896034"/>
              <a:gd name="connsiteX11" fmla="*/ 493471 w 1068620"/>
              <a:gd name="connsiteY11" fmla="*/ 367856 h 896034"/>
              <a:gd name="connsiteX12" fmla="*/ 406121 w 1068620"/>
              <a:gd name="connsiteY12" fmla="*/ 689045 h 896034"/>
              <a:gd name="connsiteX13" fmla="*/ 107770 w 1068620"/>
              <a:gd name="connsiteY13" fmla="*/ 896034 h 896034"/>
              <a:gd name="connsiteX14" fmla="*/ 0 w 1068620"/>
              <a:gd name="connsiteY14" fmla="*/ 700576 h 896034"/>
              <a:gd name="connsiteX15" fmla="*/ 180940 w 1068620"/>
              <a:gd name="connsiteY15" fmla="*/ 582531 h 896034"/>
              <a:gd name="connsiteX16" fmla="*/ 235959 w 1068620"/>
              <a:gd name="connsiteY16" fmla="*/ 443625 h 896034"/>
              <a:gd name="connsiteX17" fmla="*/ 0 w 1068620"/>
              <a:gd name="connsiteY17" fmla="*/ 443625 h 89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068620" h="896034">
                <a:moveTo>
                  <a:pt x="575149" y="0"/>
                </a:moveTo>
                <a:lnTo>
                  <a:pt x="1068620" y="0"/>
                </a:lnTo>
                <a:lnTo>
                  <a:pt x="1068620" y="367856"/>
                </a:lnTo>
                <a:cubicBezTo>
                  <a:pt x="1068620" y="503287"/>
                  <a:pt x="1039504" y="610349"/>
                  <a:pt x="981270" y="689045"/>
                </a:cubicBezTo>
                <a:cubicBezTo>
                  <a:pt x="923037" y="767741"/>
                  <a:pt x="823587" y="836737"/>
                  <a:pt x="682918" y="896034"/>
                </a:cubicBezTo>
                <a:lnTo>
                  <a:pt x="575149" y="700576"/>
                </a:lnTo>
                <a:cubicBezTo>
                  <a:pt x="662877" y="661045"/>
                  <a:pt x="723189" y="621696"/>
                  <a:pt x="756088" y="582531"/>
                </a:cubicBezTo>
                <a:cubicBezTo>
                  <a:pt x="788986" y="543366"/>
                  <a:pt x="807326" y="497064"/>
                  <a:pt x="811107" y="443625"/>
                </a:cubicBezTo>
                <a:lnTo>
                  <a:pt x="575149" y="443625"/>
                </a:lnTo>
                <a:close/>
                <a:moveTo>
                  <a:pt x="0" y="0"/>
                </a:moveTo>
                <a:lnTo>
                  <a:pt x="493471" y="0"/>
                </a:lnTo>
                <a:lnTo>
                  <a:pt x="493471" y="367856"/>
                </a:lnTo>
                <a:cubicBezTo>
                  <a:pt x="493471" y="503287"/>
                  <a:pt x="464354" y="610349"/>
                  <a:pt x="406121" y="689045"/>
                </a:cubicBezTo>
                <a:cubicBezTo>
                  <a:pt x="347887" y="767741"/>
                  <a:pt x="248437" y="836737"/>
                  <a:pt x="107770" y="896034"/>
                </a:cubicBezTo>
                <a:lnTo>
                  <a:pt x="0" y="700576"/>
                </a:lnTo>
                <a:cubicBezTo>
                  <a:pt x="87728" y="661045"/>
                  <a:pt x="148042" y="621696"/>
                  <a:pt x="180940" y="582531"/>
                </a:cubicBezTo>
                <a:cubicBezTo>
                  <a:pt x="213838" y="543366"/>
                  <a:pt x="232178" y="497064"/>
                  <a:pt x="235959" y="443625"/>
                </a:cubicBezTo>
                <a:lnTo>
                  <a:pt x="0" y="443625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  <a:lvl2pPr marL="266700" indent="0">
              <a:buNone/>
              <a:defRPr/>
            </a:lvl2pPr>
            <a:lvl3pPr marL="542925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/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441376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ayer">
            <a:extLst>
              <a:ext uri="{FF2B5EF4-FFF2-40B4-BE49-F238E27FC236}">
                <a16:creationId xmlns:a16="http://schemas.microsoft.com/office/drawing/2014/main" id="{D3F68BB8-63AF-4CFE-BD34-10B548359135}"/>
              </a:ext>
            </a:extLst>
          </p:cNvPr>
          <p:cNvSpPr>
            <a:spLocks noGrp="1" noChangeAspect="1"/>
          </p:cNvSpPr>
          <p:nvPr>
            <p:ph type="ctrTitle" hasCustomPrompt="1"/>
          </p:nvPr>
        </p:nvSpPr>
        <p:spPr bwMode="gray">
          <a:xfrm>
            <a:off x="0" y="0"/>
            <a:ext cx="12190413" cy="6858000"/>
          </a:xfrm>
          <a:prstGeom prst="rect">
            <a:avLst/>
          </a:prstGeom>
          <a:gradFill flip="none" rotWithShape="1">
            <a:gsLst>
              <a:gs pos="80000">
                <a:schemeClr val="accent1"/>
              </a:gs>
              <a:gs pos="5000">
                <a:schemeClr val="tx2"/>
              </a:gs>
            </a:gsLst>
            <a:lin ang="2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algn="r">
              <a:defRPr lang="en-US" sz="1600" noProof="0" dirty="0"/>
            </a:lvl1pPr>
          </a:lstStyle>
          <a:p>
            <a:pPr marL="0" lvl="0" indent="0" algn="ctr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</a:pPr>
            <a:r>
              <a:rPr lang="en-US" noProof="0"/>
              <a:t> </a:t>
            </a:r>
          </a:p>
        </p:txBody>
      </p:sp>
      <p:sp>
        <p:nvSpPr>
          <p:cNvPr id="2" name="Fußzeilenplatzhalter">
            <a:extLst>
              <a:ext uri="{FF2B5EF4-FFF2-40B4-BE49-F238E27FC236}">
                <a16:creationId xmlns:a16="http://schemas.microsoft.com/office/drawing/2014/main" id="{9AE7A97A-5409-410B-8243-4C26841FE0D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© Heinz Nixdorf Institut / Fraunhofer IEM</a:t>
            </a:r>
          </a:p>
        </p:txBody>
      </p:sp>
      <p:sp>
        <p:nvSpPr>
          <p:cNvPr id="5" name="Strich">
            <a:extLst>
              <a:ext uri="{FF2B5EF4-FFF2-40B4-BE49-F238E27FC236}">
                <a16:creationId xmlns:a16="http://schemas.microsoft.com/office/drawing/2014/main" id="{2D26CDD4-17B5-4DBD-A14B-D1CC19F5A830}"/>
              </a:ext>
            </a:extLst>
          </p:cNvPr>
          <p:cNvSpPr>
            <a:spLocks noGrp="1"/>
          </p:cNvSpPr>
          <p:nvPr>
            <p:ph sz="quarter" idx="38" hasCustomPrompt="1"/>
          </p:nvPr>
        </p:nvSpPr>
        <p:spPr bwMode="gray">
          <a:xfrm>
            <a:off x="941337" y="6426000"/>
            <a:ext cx="10800" cy="21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  <a:lvl2pPr marL="266700" indent="0">
              <a:buNone/>
              <a:defRPr/>
            </a:lvl2pPr>
            <a:lvl3pPr marL="542925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3" name="Foliennummernplatzhalter">
            <a:extLst>
              <a:ext uri="{FF2B5EF4-FFF2-40B4-BE49-F238E27FC236}">
                <a16:creationId xmlns:a16="http://schemas.microsoft.com/office/drawing/2014/main" id="{1C6B0D67-CDFA-47B3-A3E1-BD456E11400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5685BD5-7F70-499C-8F04-1460C72EE5D6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6" name="LOGO Heinz Nixdorf Institut - farbig" descr="Ein Bild, das Teller, Zeichnung enthält.&#10;&#10;Automatisch generierte Beschreibung">
            <a:extLst>
              <a:ext uri="{FF2B5EF4-FFF2-40B4-BE49-F238E27FC236}">
                <a16:creationId xmlns:a16="http://schemas.microsoft.com/office/drawing/2014/main" id="{572DCEB3-9D8A-4C65-822A-F34E64EF5E6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gray">
          <a:xfrm>
            <a:off x="8370060" y="6416511"/>
            <a:ext cx="1490400" cy="233923"/>
          </a:xfrm>
          <a:prstGeom prst="rect">
            <a:avLst/>
          </a:prstGeom>
        </p:spPr>
      </p:pic>
      <p:pic>
        <p:nvPicPr>
          <p:cNvPr id="7" name="LOGO Fraunhofer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1EA3CA92-C079-44A3-B64B-3FD0B824B38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gray">
          <a:xfrm>
            <a:off x="10220400" y="6339658"/>
            <a:ext cx="1429200" cy="3887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6558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 |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">
            <a:extLst>
              <a:ext uri="{FF2B5EF4-FFF2-40B4-BE49-F238E27FC236}">
                <a16:creationId xmlns:a16="http://schemas.microsoft.com/office/drawing/2014/main" id="{A396F3DE-062E-4905-BAD7-7BA8958C57AC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 bwMode="gray">
          <a:xfrm>
            <a:off x="0" y="0"/>
            <a:ext cx="4063006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Layer">
            <a:extLst>
              <a:ext uri="{FF2B5EF4-FFF2-40B4-BE49-F238E27FC236}">
                <a16:creationId xmlns:a16="http://schemas.microsoft.com/office/drawing/2014/main" id="{9B2AD54C-B27F-413B-B1B2-39F33AA68007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 bwMode="gray">
          <a:xfrm>
            <a:off x="1" y="0"/>
            <a:ext cx="4064400" cy="6858000"/>
          </a:xfrm>
          <a:gradFill flip="none" rotWithShape="1">
            <a:gsLst>
              <a:gs pos="80000">
                <a:schemeClr val="accent1">
                  <a:alpha val="80000"/>
                </a:schemeClr>
              </a:gs>
              <a:gs pos="5000">
                <a:schemeClr val="tx2">
                  <a:alpha val="80000"/>
                </a:schemeClr>
              </a:gs>
            </a:gsLst>
            <a:lin ang="2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de-DE" b="1" cap="none" baseline="0" dirty="0"/>
            </a:lvl1pPr>
          </a:lstStyle>
          <a:p>
            <a:pPr marL="270000" lvl="0" indent="-270000" algn="ctr">
              <a:buClr>
                <a:schemeClr val="accent1"/>
              </a:buClr>
            </a:pPr>
            <a:r>
              <a:rPr lang="de-DE"/>
              <a:t> </a:t>
            </a:r>
          </a:p>
        </p:txBody>
      </p:sp>
      <p:sp>
        <p:nvSpPr>
          <p:cNvPr id="3" name="Fußzeilenplatzhalter">
            <a:extLst>
              <a:ext uri="{FF2B5EF4-FFF2-40B4-BE49-F238E27FC236}">
                <a16:creationId xmlns:a16="http://schemas.microsoft.com/office/drawing/2014/main" id="{C292E9C2-6394-4860-8093-68FDE25BBC24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© Heinz Nixdorf Institut / Fraunhofer IEM</a:t>
            </a:r>
          </a:p>
        </p:txBody>
      </p:sp>
      <p:sp>
        <p:nvSpPr>
          <p:cNvPr id="15" name="Strich">
            <a:extLst>
              <a:ext uri="{FF2B5EF4-FFF2-40B4-BE49-F238E27FC236}">
                <a16:creationId xmlns:a16="http://schemas.microsoft.com/office/drawing/2014/main" id="{F3E9DC9B-F207-4CD3-B232-B01C213A90F0}"/>
              </a:ext>
            </a:extLst>
          </p:cNvPr>
          <p:cNvSpPr>
            <a:spLocks noGrp="1"/>
          </p:cNvSpPr>
          <p:nvPr>
            <p:ph sz="quarter" idx="38" hasCustomPrompt="1"/>
          </p:nvPr>
        </p:nvSpPr>
        <p:spPr bwMode="gray">
          <a:xfrm>
            <a:off x="941337" y="6426000"/>
            <a:ext cx="10800" cy="21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  <a:lvl2pPr marL="266700" indent="0">
              <a:buNone/>
              <a:defRPr/>
            </a:lvl2pPr>
            <a:lvl3pPr marL="542925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5" name="Foliennummernplatzhalter">
            <a:extLst>
              <a:ext uri="{FF2B5EF4-FFF2-40B4-BE49-F238E27FC236}">
                <a16:creationId xmlns:a16="http://schemas.microsoft.com/office/drawing/2014/main" id="{D92BD991-0AA4-4980-B3F8-B7A971DD3833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5685BD5-7F70-499C-8F04-1460C72EE5D6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68" name="Social Media">
            <a:extLst>
              <a:ext uri="{FF2B5EF4-FFF2-40B4-BE49-F238E27FC236}">
                <a16:creationId xmlns:a16="http://schemas.microsoft.com/office/drawing/2014/main" id="{12F18419-B835-4F2E-B979-AA38C2FF572D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8665199" y="4942311"/>
            <a:ext cx="2387520" cy="288000"/>
            <a:chOff x="4600800" y="4942311"/>
            <a:chExt cx="2984400" cy="360000"/>
          </a:xfrm>
        </p:grpSpPr>
        <p:sp>
          <p:nvSpPr>
            <p:cNvPr id="69" name="LOGO - YouTube">
              <a:extLst>
                <a:ext uri="{FF2B5EF4-FFF2-40B4-BE49-F238E27FC236}">
                  <a16:creationId xmlns:a16="http://schemas.microsoft.com/office/drawing/2014/main" id="{0DB7C3ED-B451-439A-B3F6-4545E938263A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7225200" y="4942311"/>
              <a:ext cx="360000" cy="360000"/>
            </a:xfrm>
            <a:custGeom>
              <a:avLst/>
              <a:gdLst>
                <a:gd name="connsiteX0" fmla="*/ 452129 w 1015890"/>
                <a:gd name="connsiteY0" fmla="*/ 430761 h 1015890"/>
                <a:gd name="connsiteX1" fmla="*/ 594895 w 1015890"/>
                <a:gd name="connsiteY1" fmla="*/ 505257 h 1015890"/>
                <a:gd name="connsiteX2" fmla="*/ 452129 w 1015890"/>
                <a:gd name="connsiteY2" fmla="*/ 583382 h 1015890"/>
                <a:gd name="connsiteX3" fmla="*/ 507811 w 1015890"/>
                <a:gd name="connsiteY3" fmla="*/ 317426 h 1015890"/>
                <a:gd name="connsiteX4" fmla="*/ 507990 w 1015890"/>
                <a:gd name="connsiteY4" fmla="*/ 317428 h 1015890"/>
                <a:gd name="connsiteX5" fmla="*/ 447683 w 1015890"/>
                <a:gd name="connsiteY5" fmla="*/ 318075 h 1015890"/>
                <a:gd name="connsiteX6" fmla="*/ 312275 w 1015890"/>
                <a:gd name="connsiteY6" fmla="*/ 324280 h 1015890"/>
                <a:gd name="connsiteX7" fmla="*/ 247500 w 1015890"/>
                <a:gd name="connsiteY7" fmla="*/ 386726 h 1015890"/>
                <a:gd name="connsiteX8" fmla="*/ 239302 w 1015890"/>
                <a:gd name="connsiteY8" fmla="*/ 504764 h 1015890"/>
                <a:gd name="connsiteX9" fmla="*/ 239302 w 1015890"/>
                <a:gd name="connsiteY9" fmla="*/ 511080 h 1015890"/>
                <a:gd name="connsiteX10" fmla="*/ 247500 w 1015890"/>
                <a:gd name="connsiteY10" fmla="*/ 629119 h 1015890"/>
                <a:gd name="connsiteX11" fmla="*/ 312275 w 1015890"/>
                <a:gd name="connsiteY11" fmla="*/ 691565 h 1015890"/>
                <a:gd name="connsiteX12" fmla="*/ 447658 w 1015890"/>
                <a:gd name="connsiteY12" fmla="*/ 697770 h 1015890"/>
                <a:gd name="connsiteX13" fmla="*/ 507990 w 1015890"/>
                <a:gd name="connsiteY13" fmla="*/ 698417 h 1015890"/>
                <a:gd name="connsiteX14" fmla="*/ 507811 w 1015890"/>
                <a:gd name="connsiteY14" fmla="*/ 698419 h 1015890"/>
                <a:gd name="connsiteX15" fmla="*/ 508169 w 1015890"/>
                <a:gd name="connsiteY15" fmla="*/ 698419 h 1015890"/>
                <a:gd name="connsiteX16" fmla="*/ 507990 w 1015890"/>
                <a:gd name="connsiteY16" fmla="*/ 698417 h 1015890"/>
                <a:gd name="connsiteX17" fmla="*/ 568297 w 1015890"/>
                <a:gd name="connsiteY17" fmla="*/ 697770 h 1015890"/>
                <a:gd name="connsiteX18" fmla="*/ 703661 w 1015890"/>
                <a:gd name="connsiteY18" fmla="*/ 691565 h 1015890"/>
                <a:gd name="connsiteX19" fmla="*/ 768436 w 1015890"/>
                <a:gd name="connsiteY19" fmla="*/ 629119 h 1015890"/>
                <a:gd name="connsiteX20" fmla="*/ 776633 w 1015890"/>
                <a:gd name="connsiteY20" fmla="*/ 511080 h 1015890"/>
                <a:gd name="connsiteX21" fmla="*/ 776633 w 1015890"/>
                <a:gd name="connsiteY21" fmla="*/ 504764 h 1015890"/>
                <a:gd name="connsiteX22" fmla="*/ 768436 w 1015890"/>
                <a:gd name="connsiteY22" fmla="*/ 386726 h 1015890"/>
                <a:gd name="connsiteX23" fmla="*/ 703661 w 1015890"/>
                <a:gd name="connsiteY23" fmla="*/ 324280 h 1015890"/>
                <a:gd name="connsiteX24" fmla="*/ 568297 w 1015890"/>
                <a:gd name="connsiteY24" fmla="*/ 318075 h 1015890"/>
                <a:gd name="connsiteX25" fmla="*/ 507990 w 1015890"/>
                <a:gd name="connsiteY25" fmla="*/ 317428 h 1015890"/>
                <a:gd name="connsiteX26" fmla="*/ 508169 w 1015890"/>
                <a:gd name="connsiteY26" fmla="*/ 317426 h 1015890"/>
                <a:gd name="connsiteX27" fmla="*/ 507945 w 1015890"/>
                <a:gd name="connsiteY27" fmla="*/ 0 h 1015890"/>
                <a:gd name="connsiteX28" fmla="*/ 1015890 w 1015890"/>
                <a:gd name="connsiteY28" fmla="*/ 507945 h 1015890"/>
                <a:gd name="connsiteX29" fmla="*/ 507945 w 1015890"/>
                <a:gd name="connsiteY29" fmla="*/ 1015890 h 1015890"/>
                <a:gd name="connsiteX30" fmla="*/ 0 w 1015890"/>
                <a:gd name="connsiteY30" fmla="*/ 507945 h 1015890"/>
                <a:gd name="connsiteX31" fmla="*/ 507945 w 1015890"/>
                <a:gd name="connsiteY31" fmla="*/ 0 h 1015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015890" h="1015890">
                  <a:moveTo>
                    <a:pt x="452129" y="430761"/>
                  </a:moveTo>
                  <a:lnTo>
                    <a:pt x="594895" y="505257"/>
                  </a:lnTo>
                  <a:lnTo>
                    <a:pt x="452129" y="583382"/>
                  </a:lnTo>
                  <a:close/>
                  <a:moveTo>
                    <a:pt x="507811" y="317426"/>
                  </a:moveTo>
                  <a:lnTo>
                    <a:pt x="507990" y="317428"/>
                  </a:lnTo>
                  <a:lnTo>
                    <a:pt x="447683" y="318075"/>
                  </a:lnTo>
                  <a:cubicBezTo>
                    <a:pt x="386458" y="319299"/>
                    <a:pt x="327596" y="322029"/>
                    <a:pt x="312275" y="324280"/>
                  </a:cubicBezTo>
                  <a:cubicBezTo>
                    <a:pt x="276931" y="329969"/>
                    <a:pt x="257714" y="345782"/>
                    <a:pt x="247500" y="386726"/>
                  </a:cubicBezTo>
                  <a:cubicBezTo>
                    <a:pt x="244051" y="400523"/>
                    <a:pt x="239302" y="475960"/>
                    <a:pt x="239302" y="504764"/>
                  </a:cubicBezTo>
                  <a:lnTo>
                    <a:pt x="239302" y="511080"/>
                  </a:lnTo>
                  <a:cubicBezTo>
                    <a:pt x="239302" y="539884"/>
                    <a:pt x="244051" y="615321"/>
                    <a:pt x="247500" y="629119"/>
                  </a:cubicBezTo>
                  <a:cubicBezTo>
                    <a:pt x="257714" y="670062"/>
                    <a:pt x="276931" y="685876"/>
                    <a:pt x="312275" y="691565"/>
                  </a:cubicBezTo>
                  <a:cubicBezTo>
                    <a:pt x="327563" y="693816"/>
                    <a:pt x="386417" y="696546"/>
                    <a:pt x="447658" y="697770"/>
                  </a:cubicBezTo>
                  <a:lnTo>
                    <a:pt x="507990" y="698417"/>
                  </a:lnTo>
                  <a:lnTo>
                    <a:pt x="507811" y="698419"/>
                  </a:lnTo>
                  <a:lnTo>
                    <a:pt x="508169" y="698419"/>
                  </a:lnTo>
                  <a:lnTo>
                    <a:pt x="507990" y="698417"/>
                  </a:lnTo>
                  <a:lnTo>
                    <a:pt x="568297" y="697770"/>
                  </a:lnTo>
                  <a:cubicBezTo>
                    <a:pt x="629520" y="696546"/>
                    <a:pt x="688374" y="693816"/>
                    <a:pt x="703661" y="691565"/>
                  </a:cubicBezTo>
                  <a:cubicBezTo>
                    <a:pt x="739005" y="685876"/>
                    <a:pt x="758222" y="670062"/>
                    <a:pt x="768436" y="629119"/>
                  </a:cubicBezTo>
                  <a:cubicBezTo>
                    <a:pt x="771885" y="615321"/>
                    <a:pt x="776633" y="539884"/>
                    <a:pt x="776633" y="511080"/>
                  </a:cubicBezTo>
                  <a:lnTo>
                    <a:pt x="776633" y="504764"/>
                  </a:lnTo>
                  <a:cubicBezTo>
                    <a:pt x="776633" y="475960"/>
                    <a:pt x="771885" y="400523"/>
                    <a:pt x="768436" y="386726"/>
                  </a:cubicBezTo>
                  <a:cubicBezTo>
                    <a:pt x="758222" y="345782"/>
                    <a:pt x="739005" y="329969"/>
                    <a:pt x="703661" y="324280"/>
                  </a:cubicBezTo>
                  <a:cubicBezTo>
                    <a:pt x="688374" y="322029"/>
                    <a:pt x="629520" y="319299"/>
                    <a:pt x="568297" y="318075"/>
                  </a:cubicBezTo>
                  <a:lnTo>
                    <a:pt x="507990" y="317428"/>
                  </a:lnTo>
                  <a:lnTo>
                    <a:pt x="508169" y="317426"/>
                  </a:lnTo>
                  <a:close/>
                  <a:moveTo>
                    <a:pt x="507945" y="0"/>
                  </a:moveTo>
                  <a:cubicBezTo>
                    <a:pt x="788475" y="0"/>
                    <a:pt x="1015890" y="227415"/>
                    <a:pt x="1015890" y="507945"/>
                  </a:cubicBezTo>
                  <a:cubicBezTo>
                    <a:pt x="1015890" y="788476"/>
                    <a:pt x="788476" y="1015890"/>
                    <a:pt x="507945" y="1015890"/>
                  </a:cubicBezTo>
                  <a:cubicBezTo>
                    <a:pt x="227415" y="1015890"/>
                    <a:pt x="0" y="788476"/>
                    <a:pt x="0" y="507945"/>
                  </a:cubicBezTo>
                  <a:cubicBezTo>
                    <a:pt x="0" y="227415"/>
                    <a:pt x="227414" y="0"/>
                    <a:pt x="507945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448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/>
            </a:p>
          </p:txBody>
        </p:sp>
        <p:sp>
          <p:nvSpPr>
            <p:cNvPr id="70" name="LOGO - Xing">
              <a:extLst>
                <a:ext uri="{FF2B5EF4-FFF2-40B4-BE49-F238E27FC236}">
                  <a16:creationId xmlns:a16="http://schemas.microsoft.com/office/drawing/2014/main" id="{A5DEE4A4-6D6E-4508-A6EF-16F4473DD4E4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569101" y="4942311"/>
              <a:ext cx="360000" cy="360000"/>
            </a:xfrm>
            <a:custGeom>
              <a:avLst/>
              <a:gdLst>
                <a:gd name="connsiteX0" fmla="*/ 331178 w 1015890"/>
                <a:gd name="connsiteY0" fmla="*/ 354293 h 1015890"/>
                <a:gd name="connsiteX1" fmla="*/ 321188 w 1015890"/>
                <a:gd name="connsiteY1" fmla="*/ 358862 h 1015890"/>
                <a:gd name="connsiteX2" fmla="*/ 321592 w 1015890"/>
                <a:gd name="connsiteY2" fmla="*/ 370106 h 1015890"/>
                <a:gd name="connsiteX3" fmla="*/ 371136 w 1015890"/>
                <a:gd name="connsiteY3" fmla="*/ 455846 h 1015890"/>
                <a:gd name="connsiteX4" fmla="*/ 371136 w 1015890"/>
                <a:gd name="connsiteY4" fmla="*/ 456249 h 1015890"/>
                <a:gd name="connsiteX5" fmla="*/ 293281 w 1015890"/>
                <a:gd name="connsiteY5" fmla="*/ 593595 h 1015890"/>
                <a:gd name="connsiteX6" fmla="*/ 293281 w 1015890"/>
                <a:gd name="connsiteY6" fmla="*/ 604839 h 1015890"/>
                <a:gd name="connsiteX7" fmla="*/ 302866 w 1015890"/>
                <a:gd name="connsiteY7" fmla="*/ 609856 h 1015890"/>
                <a:gd name="connsiteX8" fmla="*/ 376108 w 1015890"/>
                <a:gd name="connsiteY8" fmla="*/ 609856 h 1015890"/>
                <a:gd name="connsiteX9" fmla="*/ 396088 w 1015890"/>
                <a:gd name="connsiteY9" fmla="*/ 595700 h 1015890"/>
                <a:gd name="connsiteX10" fmla="*/ 475154 w 1015890"/>
                <a:gd name="connsiteY10" fmla="*/ 455846 h 1015890"/>
                <a:gd name="connsiteX11" fmla="*/ 424802 w 1015890"/>
                <a:gd name="connsiteY11" fmla="*/ 368045 h 1015890"/>
                <a:gd name="connsiteX12" fmla="*/ 404420 w 1015890"/>
                <a:gd name="connsiteY12" fmla="*/ 354293 h 1015890"/>
                <a:gd name="connsiteX13" fmla="*/ 638929 w 1015890"/>
                <a:gd name="connsiteY13" fmla="*/ 253950 h 1015890"/>
                <a:gd name="connsiteX14" fmla="*/ 619308 w 1015890"/>
                <a:gd name="connsiteY14" fmla="*/ 267882 h 1015890"/>
                <a:gd name="connsiteX15" fmla="*/ 456294 w 1015890"/>
                <a:gd name="connsiteY15" fmla="*/ 556952 h 1015890"/>
                <a:gd name="connsiteX16" fmla="*/ 560401 w 1015890"/>
                <a:gd name="connsiteY16" fmla="*/ 747919 h 1015890"/>
                <a:gd name="connsiteX17" fmla="*/ 580873 w 1015890"/>
                <a:gd name="connsiteY17" fmla="*/ 761850 h 1015890"/>
                <a:gd name="connsiteX18" fmla="*/ 654025 w 1015890"/>
                <a:gd name="connsiteY18" fmla="*/ 761850 h 1015890"/>
                <a:gd name="connsiteX19" fmla="*/ 663746 w 1015890"/>
                <a:gd name="connsiteY19" fmla="*/ 757192 h 1015890"/>
                <a:gd name="connsiteX20" fmla="*/ 663612 w 1015890"/>
                <a:gd name="connsiteY20" fmla="*/ 745858 h 1015890"/>
                <a:gd name="connsiteX21" fmla="*/ 560356 w 1015890"/>
                <a:gd name="connsiteY21" fmla="*/ 557176 h 1015890"/>
                <a:gd name="connsiteX22" fmla="*/ 560356 w 1015890"/>
                <a:gd name="connsiteY22" fmla="*/ 556683 h 1015890"/>
                <a:gd name="connsiteX23" fmla="*/ 722563 w 1015890"/>
                <a:gd name="connsiteY23" fmla="*/ 269897 h 1015890"/>
                <a:gd name="connsiteX24" fmla="*/ 722698 w 1015890"/>
                <a:gd name="connsiteY24" fmla="*/ 258609 h 1015890"/>
                <a:gd name="connsiteX25" fmla="*/ 712977 w 1015890"/>
                <a:gd name="connsiteY25" fmla="*/ 253950 h 1015890"/>
                <a:gd name="connsiteX26" fmla="*/ 507945 w 1015890"/>
                <a:gd name="connsiteY26" fmla="*/ 0 h 1015890"/>
                <a:gd name="connsiteX27" fmla="*/ 1015890 w 1015890"/>
                <a:gd name="connsiteY27" fmla="*/ 507945 h 1015890"/>
                <a:gd name="connsiteX28" fmla="*/ 507945 w 1015890"/>
                <a:gd name="connsiteY28" fmla="*/ 1015890 h 1015890"/>
                <a:gd name="connsiteX29" fmla="*/ 0 w 1015890"/>
                <a:gd name="connsiteY29" fmla="*/ 507945 h 1015890"/>
                <a:gd name="connsiteX30" fmla="*/ 507945 w 1015890"/>
                <a:gd name="connsiteY30" fmla="*/ 0 h 1015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015890" h="1015890">
                  <a:moveTo>
                    <a:pt x="331178" y="354293"/>
                  </a:moveTo>
                  <a:cubicBezTo>
                    <a:pt x="326743" y="354293"/>
                    <a:pt x="323070" y="355861"/>
                    <a:pt x="321188" y="358862"/>
                  </a:cubicBezTo>
                  <a:cubicBezTo>
                    <a:pt x="319262" y="361998"/>
                    <a:pt x="319576" y="366030"/>
                    <a:pt x="321592" y="370106"/>
                  </a:cubicBezTo>
                  <a:lnTo>
                    <a:pt x="371136" y="455846"/>
                  </a:lnTo>
                  <a:cubicBezTo>
                    <a:pt x="371226" y="456025"/>
                    <a:pt x="371226" y="456115"/>
                    <a:pt x="371136" y="456249"/>
                  </a:cubicBezTo>
                  <a:lnTo>
                    <a:pt x="293281" y="593595"/>
                  </a:lnTo>
                  <a:cubicBezTo>
                    <a:pt x="291265" y="597626"/>
                    <a:pt x="291354" y="601703"/>
                    <a:pt x="293281" y="604839"/>
                  </a:cubicBezTo>
                  <a:cubicBezTo>
                    <a:pt x="295162" y="607840"/>
                    <a:pt x="298432" y="609856"/>
                    <a:pt x="302866" y="609856"/>
                  </a:cubicBezTo>
                  <a:lnTo>
                    <a:pt x="376108" y="609856"/>
                  </a:lnTo>
                  <a:cubicBezTo>
                    <a:pt x="387083" y="609856"/>
                    <a:pt x="392325" y="602464"/>
                    <a:pt x="396088" y="595700"/>
                  </a:cubicBezTo>
                  <a:cubicBezTo>
                    <a:pt x="396088" y="595700"/>
                    <a:pt x="472196" y="461087"/>
                    <a:pt x="475154" y="455846"/>
                  </a:cubicBezTo>
                  <a:cubicBezTo>
                    <a:pt x="474839" y="455353"/>
                    <a:pt x="424802" y="368045"/>
                    <a:pt x="424802" y="368045"/>
                  </a:cubicBezTo>
                  <a:cubicBezTo>
                    <a:pt x="421174" y="361550"/>
                    <a:pt x="415664" y="354293"/>
                    <a:pt x="404420" y="354293"/>
                  </a:cubicBezTo>
                  <a:close/>
                  <a:moveTo>
                    <a:pt x="638929" y="253950"/>
                  </a:moveTo>
                  <a:cubicBezTo>
                    <a:pt x="627999" y="253950"/>
                    <a:pt x="623250" y="260849"/>
                    <a:pt x="619308" y="267882"/>
                  </a:cubicBezTo>
                  <a:cubicBezTo>
                    <a:pt x="619308" y="267882"/>
                    <a:pt x="461491" y="547769"/>
                    <a:pt x="456294" y="556952"/>
                  </a:cubicBezTo>
                  <a:cubicBezTo>
                    <a:pt x="456563" y="557445"/>
                    <a:pt x="560401" y="747919"/>
                    <a:pt x="560401" y="747919"/>
                  </a:cubicBezTo>
                  <a:cubicBezTo>
                    <a:pt x="564029" y="754414"/>
                    <a:pt x="569629" y="761850"/>
                    <a:pt x="580873" y="761850"/>
                  </a:cubicBezTo>
                  <a:lnTo>
                    <a:pt x="654025" y="761850"/>
                  </a:lnTo>
                  <a:cubicBezTo>
                    <a:pt x="658460" y="761850"/>
                    <a:pt x="661864" y="760193"/>
                    <a:pt x="663746" y="757192"/>
                  </a:cubicBezTo>
                  <a:cubicBezTo>
                    <a:pt x="665672" y="754056"/>
                    <a:pt x="665627" y="749935"/>
                    <a:pt x="663612" y="745858"/>
                  </a:cubicBezTo>
                  <a:lnTo>
                    <a:pt x="560356" y="557176"/>
                  </a:lnTo>
                  <a:cubicBezTo>
                    <a:pt x="560267" y="557042"/>
                    <a:pt x="560267" y="556818"/>
                    <a:pt x="560356" y="556683"/>
                  </a:cubicBezTo>
                  <a:lnTo>
                    <a:pt x="722563" y="269897"/>
                  </a:lnTo>
                  <a:cubicBezTo>
                    <a:pt x="724579" y="265866"/>
                    <a:pt x="724669" y="261700"/>
                    <a:pt x="722698" y="258609"/>
                  </a:cubicBezTo>
                  <a:cubicBezTo>
                    <a:pt x="720816" y="255607"/>
                    <a:pt x="717367" y="253950"/>
                    <a:pt x="712977" y="253950"/>
                  </a:cubicBezTo>
                  <a:close/>
                  <a:moveTo>
                    <a:pt x="507945" y="0"/>
                  </a:moveTo>
                  <a:cubicBezTo>
                    <a:pt x="788476" y="0"/>
                    <a:pt x="1015890" y="227415"/>
                    <a:pt x="1015890" y="507945"/>
                  </a:cubicBezTo>
                  <a:cubicBezTo>
                    <a:pt x="1015890" y="788476"/>
                    <a:pt x="788476" y="1015890"/>
                    <a:pt x="507945" y="1015890"/>
                  </a:cubicBezTo>
                  <a:cubicBezTo>
                    <a:pt x="227414" y="1015890"/>
                    <a:pt x="0" y="788476"/>
                    <a:pt x="0" y="507945"/>
                  </a:cubicBezTo>
                  <a:cubicBezTo>
                    <a:pt x="0" y="227415"/>
                    <a:pt x="227414" y="0"/>
                    <a:pt x="507945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448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/>
            </a:p>
          </p:txBody>
        </p:sp>
        <p:sp>
          <p:nvSpPr>
            <p:cNvPr id="71" name="LOGO - LinkedIn">
              <a:extLst>
                <a:ext uri="{FF2B5EF4-FFF2-40B4-BE49-F238E27FC236}">
                  <a16:creationId xmlns:a16="http://schemas.microsoft.com/office/drawing/2014/main" id="{EE210E6C-CF38-4D54-A853-59356AACFCD7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5913000" y="4942311"/>
              <a:ext cx="360001" cy="360000"/>
            </a:xfrm>
            <a:custGeom>
              <a:avLst/>
              <a:gdLst>
                <a:gd name="connsiteX0" fmla="*/ 531912 w 1015891"/>
                <a:gd name="connsiteY0" fmla="*/ 478010 h 1015890"/>
                <a:gd name="connsiteX1" fmla="*/ 531912 w 1015891"/>
                <a:gd name="connsiteY1" fmla="*/ 478648 h 1015890"/>
                <a:gd name="connsiteX2" fmla="*/ 531331 w 1015891"/>
                <a:gd name="connsiteY2" fmla="*/ 478648 h 1015890"/>
                <a:gd name="connsiteX3" fmla="*/ 313754 w 1015891"/>
                <a:gd name="connsiteY3" fmla="*/ 441378 h 1015890"/>
                <a:gd name="connsiteX4" fmla="*/ 313754 w 1015891"/>
                <a:gd name="connsiteY4" fmla="*/ 698374 h 1015890"/>
                <a:gd name="connsiteX5" fmla="*/ 399181 w 1015891"/>
                <a:gd name="connsiteY5" fmla="*/ 698374 h 1015890"/>
                <a:gd name="connsiteX6" fmla="*/ 399181 w 1015891"/>
                <a:gd name="connsiteY6" fmla="*/ 441378 h 1015890"/>
                <a:gd name="connsiteX7" fmla="*/ 608917 w 1015891"/>
                <a:gd name="connsiteY7" fmla="*/ 435330 h 1015890"/>
                <a:gd name="connsiteX8" fmla="*/ 557054 w 1015891"/>
                <a:gd name="connsiteY8" fmla="*/ 450404 h 1015890"/>
                <a:gd name="connsiteX9" fmla="*/ 531912 w 1015891"/>
                <a:gd name="connsiteY9" fmla="*/ 478010 h 1015890"/>
                <a:gd name="connsiteX10" fmla="*/ 531912 w 1015891"/>
                <a:gd name="connsiteY10" fmla="*/ 441378 h 1015890"/>
                <a:gd name="connsiteX11" fmla="*/ 446486 w 1015891"/>
                <a:gd name="connsiteY11" fmla="*/ 441378 h 1015890"/>
                <a:gd name="connsiteX12" fmla="*/ 446442 w 1015891"/>
                <a:gd name="connsiteY12" fmla="*/ 698374 h 1015890"/>
                <a:gd name="connsiteX13" fmla="*/ 531868 w 1015891"/>
                <a:gd name="connsiteY13" fmla="*/ 698374 h 1015890"/>
                <a:gd name="connsiteX14" fmla="*/ 531868 w 1015891"/>
                <a:gd name="connsiteY14" fmla="*/ 554847 h 1015890"/>
                <a:gd name="connsiteX15" fmla="*/ 534690 w 1015891"/>
                <a:gd name="connsiteY15" fmla="*/ 534016 h 1015890"/>
                <a:gd name="connsiteX16" fmla="*/ 578546 w 1015891"/>
                <a:gd name="connsiteY16" fmla="*/ 502749 h 1015890"/>
                <a:gd name="connsiteX17" fmla="*/ 621819 w 1015891"/>
                <a:gd name="connsiteY17" fmla="*/ 560894 h 1015890"/>
                <a:gd name="connsiteX18" fmla="*/ 621819 w 1015891"/>
                <a:gd name="connsiteY18" fmla="*/ 698374 h 1015890"/>
                <a:gd name="connsiteX19" fmla="*/ 707245 w 1015891"/>
                <a:gd name="connsiteY19" fmla="*/ 698374 h 1015890"/>
                <a:gd name="connsiteX20" fmla="*/ 707245 w 1015891"/>
                <a:gd name="connsiteY20" fmla="*/ 550994 h 1015890"/>
                <a:gd name="connsiteX21" fmla="*/ 608917 w 1015891"/>
                <a:gd name="connsiteY21" fmla="*/ 435330 h 1015890"/>
                <a:gd name="connsiteX22" fmla="*/ 357028 w 1015891"/>
                <a:gd name="connsiteY22" fmla="*/ 317471 h 1015890"/>
                <a:gd name="connsiteX23" fmla="*/ 308693 w 1015891"/>
                <a:gd name="connsiteY23" fmla="*/ 361864 h 1015890"/>
                <a:gd name="connsiteX24" fmla="*/ 355908 w 1015891"/>
                <a:gd name="connsiteY24" fmla="*/ 406257 h 1015890"/>
                <a:gd name="connsiteX25" fmla="*/ 356446 w 1015891"/>
                <a:gd name="connsiteY25" fmla="*/ 406257 h 1015890"/>
                <a:gd name="connsiteX26" fmla="*/ 404781 w 1015891"/>
                <a:gd name="connsiteY26" fmla="*/ 361864 h 1015890"/>
                <a:gd name="connsiteX27" fmla="*/ 357028 w 1015891"/>
                <a:gd name="connsiteY27" fmla="*/ 317471 h 1015890"/>
                <a:gd name="connsiteX28" fmla="*/ 507946 w 1015891"/>
                <a:gd name="connsiteY28" fmla="*/ 0 h 1015890"/>
                <a:gd name="connsiteX29" fmla="*/ 1015891 w 1015891"/>
                <a:gd name="connsiteY29" fmla="*/ 507945 h 1015890"/>
                <a:gd name="connsiteX30" fmla="*/ 507946 w 1015891"/>
                <a:gd name="connsiteY30" fmla="*/ 1015890 h 1015890"/>
                <a:gd name="connsiteX31" fmla="*/ 0 w 1015891"/>
                <a:gd name="connsiteY31" fmla="*/ 507945 h 1015890"/>
                <a:gd name="connsiteX32" fmla="*/ 507946 w 1015891"/>
                <a:gd name="connsiteY32" fmla="*/ 0 h 1015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1015891" h="1015890">
                  <a:moveTo>
                    <a:pt x="531912" y="478010"/>
                  </a:moveTo>
                  <a:lnTo>
                    <a:pt x="531912" y="478648"/>
                  </a:lnTo>
                  <a:lnTo>
                    <a:pt x="531331" y="478648"/>
                  </a:lnTo>
                  <a:close/>
                  <a:moveTo>
                    <a:pt x="313754" y="441378"/>
                  </a:moveTo>
                  <a:lnTo>
                    <a:pt x="313754" y="698374"/>
                  </a:lnTo>
                  <a:lnTo>
                    <a:pt x="399181" y="698374"/>
                  </a:lnTo>
                  <a:lnTo>
                    <a:pt x="399181" y="441378"/>
                  </a:lnTo>
                  <a:close/>
                  <a:moveTo>
                    <a:pt x="608917" y="435330"/>
                  </a:moveTo>
                  <a:cubicBezTo>
                    <a:pt x="585869" y="435330"/>
                    <a:pt x="569284" y="441770"/>
                    <a:pt x="557054" y="450404"/>
                  </a:cubicBezTo>
                  <a:lnTo>
                    <a:pt x="531912" y="478010"/>
                  </a:lnTo>
                  <a:lnTo>
                    <a:pt x="531912" y="441378"/>
                  </a:lnTo>
                  <a:lnTo>
                    <a:pt x="446486" y="441378"/>
                  </a:lnTo>
                  <a:cubicBezTo>
                    <a:pt x="447561" y="465478"/>
                    <a:pt x="446442" y="698419"/>
                    <a:pt x="446442" y="698374"/>
                  </a:cubicBezTo>
                  <a:lnTo>
                    <a:pt x="531868" y="698374"/>
                  </a:lnTo>
                  <a:lnTo>
                    <a:pt x="531868" y="554847"/>
                  </a:lnTo>
                  <a:cubicBezTo>
                    <a:pt x="531868" y="547186"/>
                    <a:pt x="532450" y="539481"/>
                    <a:pt x="534690" y="534016"/>
                  </a:cubicBezTo>
                  <a:cubicBezTo>
                    <a:pt x="540872" y="518651"/>
                    <a:pt x="554938" y="502749"/>
                    <a:pt x="578546" y="502749"/>
                  </a:cubicBezTo>
                  <a:cubicBezTo>
                    <a:pt x="609455" y="502749"/>
                    <a:pt x="621819" y="526311"/>
                    <a:pt x="621819" y="560894"/>
                  </a:cubicBezTo>
                  <a:lnTo>
                    <a:pt x="621819" y="698374"/>
                  </a:lnTo>
                  <a:lnTo>
                    <a:pt x="707245" y="698374"/>
                  </a:lnTo>
                  <a:lnTo>
                    <a:pt x="707245" y="550994"/>
                  </a:lnTo>
                  <a:cubicBezTo>
                    <a:pt x="707245" y="472063"/>
                    <a:pt x="665092" y="435330"/>
                    <a:pt x="608917" y="435330"/>
                  </a:cubicBezTo>
                  <a:close/>
                  <a:moveTo>
                    <a:pt x="357028" y="317471"/>
                  </a:moveTo>
                  <a:cubicBezTo>
                    <a:pt x="327776" y="317471"/>
                    <a:pt x="308693" y="336644"/>
                    <a:pt x="308693" y="361864"/>
                  </a:cubicBezTo>
                  <a:cubicBezTo>
                    <a:pt x="308693" y="386547"/>
                    <a:pt x="327239" y="406257"/>
                    <a:pt x="355908" y="406257"/>
                  </a:cubicBezTo>
                  <a:lnTo>
                    <a:pt x="356446" y="406257"/>
                  </a:lnTo>
                  <a:cubicBezTo>
                    <a:pt x="386235" y="406257"/>
                    <a:pt x="404781" y="386502"/>
                    <a:pt x="404781" y="361864"/>
                  </a:cubicBezTo>
                  <a:cubicBezTo>
                    <a:pt x="404198" y="336644"/>
                    <a:pt x="386235" y="317471"/>
                    <a:pt x="357028" y="317471"/>
                  </a:cubicBezTo>
                  <a:close/>
                  <a:moveTo>
                    <a:pt x="507946" y="0"/>
                  </a:moveTo>
                  <a:cubicBezTo>
                    <a:pt x="788476" y="0"/>
                    <a:pt x="1015891" y="227415"/>
                    <a:pt x="1015891" y="507945"/>
                  </a:cubicBezTo>
                  <a:cubicBezTo>
                    <a:pt x="1015891" y="788476"/>
                    <a:pt x="788476" y="1015890"/>
                    <a:pt x="507946" y="1015890"/>
                  </a:cubicBezTo>
                  <a:cubicBezTo>
                    <a:pt x="227415" y="1015890"/>
                    <a:pt x="0" y="788476"/>
                    <a:pt x="0" y="507945"/>
                  </a:cubicBezTo>
                  <a:cubicBezTo>
                    <a:pt x="0" y="227415"/>
                    <a:pt x="227415" y="0"/>
                    <a:pt x="507946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448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/>
            </a:p>
          </p:txBody>
        </p:sp>
        <p:sp>
          <p:nvSpPr>
            <p:cNvPr id="72" name="LOGO - Facebook">
              <a:extLst>
                <a:ext uri="{FF2B5EF4-FFF2-40B4-BE49-F238E27FC236}">
                  <a16:creationId xmlns:a16="http://schemas.microsoft.com/office/drawing/2014/main" id="{85252A18-34BF-4C08-9A32-416DAF01C0B9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5256900" y="4942311"/>
              <a:ext cx="360000" cy="360000"/>
            </a:xfrm>
            <a:custGeom>
              <a:avLst/>
              <a:gdLst>
                <a:gd name="connsiteX0" fmla="*/ 569988 w 1015890"/>
                <a:gd name="connsiteY0" fmla="*/ 253995 h 1015890"/>
                <a:gd name="connsiteX1" fmla="*/ 453876 w 1015890"/>
                <a:gd name="connsiteY1" fmla="*/ 373332 h 1015890"/>
                <a:gd name="connsiteX2" fmla="*/ 453876 w 1015890"/>
                <a:gd name="connsiteY2" fmla="*/ 439944 h 1015890"/>
                <a:gd name="connsiteX3" fmla="*/ 376154 w 1015890"/>
                <a:gd name="connsiteY3" fmla="*/ 439944 h 1015890"/>
                <a:gd name="connsiteX4" fmla="*/ 376154 w 1015890"/>
                <a:gd name="connsiteY4" fmla="*/ 530523 h 1015890"/>
                <a:gd name="connsiteX5" fmla="*/ 453876 w 1015890"/>
                <a:gd name="connsiteY5" fmla="*/ 530523 h 1015890"/>
                <a:gd name="connsiteX6" fmla="*/ 453876 w 1015890"/>
                <a:gd name="connsiteY6" fmla="*/ 761895 h 1015890"/>
                <a:gd name="connsiteX7" fmla="*/ 453876 w 1015890"/>
                <a:gd name="connsiteY7" fmla="*/ 761985 h 1015890"/>
                <a:gd name="connsiteX8" fmla="*/ 547321 w 1015890"/>
                <a:gd name="connsiteY8" fmla="*/ 761985 h 1015890"/>
                <a:gd name="connsiteX9" fmla="*/ 547321 w 1015890"/>
                <a:gd name="connsiteY9" fmla="*/ 530612 h 1015890"/>
                <a:gd name="connsiteX10" fmla="*/ 625311 w 1015890"/>
                <a:gd name="connsiteY10" fmla="*/ 530612 h 1015890"/>
                <a:gd name="connsiteX11" fmla="*/ 637003 w 1015890"/>
                <a:gd name="connsiteY11" fmla="*/ 440034 h 1015890"/>
                <a:gd name="connsiteX12" fmla="*/ 547321 w 1015890"/>
                <a:gd name="connsiteY12" fmla="*/ 440034 h 1015890"/>
                <a:gd name="connsiteX13" fmla="*/ 547321 w 1015890"/>
                <a:gd name="connsiteY13" fmla="*/ 382336 h 1015890"/>
                <a:gd name="connsiteX14" fmla="*/ 592117 w 1015890"/>
                <a:gd name="connsiteY14" fmla="*/ 338346 h 1015890"/>
                <a:gd name="connsiteX15" fmla="*/ 639646 w 1015890"/>
                <a:gd name="connsiteY15" fmla="*/ 338302 h 1015890"/>
                <a:gd name="connsiteX16" fmla="*/ 639646 w 1015890"/>
                <a:gd name="connsiteY16" fmla="*/ 257534 h 1015890"/>
                <a:gd name="connsiteX17" fmla="*/ 569988 w 1015890"/>
                <a:gd name="connsiteY17" fmla="*/ 253995 h 1015890"/>
                <a:gd name="connsiteX18" fmla="*/ 507945 w 1015890"/>
                <a:gd name="connsiteY18" fmla="*/ 0 h 1015890"/>
                <a:gd name="connsiteX19" fmla="*/ 1015890 w 1015890"/>
                <a:gd name="connsiteY19" fmla="*/ 507945 h 1015890"/>
                <a:gd name="connsiteX20" fmla="*/ 507945 w 1015890"/>
                <a:gd name="connsiteY20" fmla="*/ 1015890 h 1015890"/>
                <a:gd name="connsiteX21" fmla="*/ 0 w 1015890"/>
                <a:gd name="connsiteY21" fmla="*/ 507945 h 1015890"/>
                <a:gd name="connsiteX22" fmla="*/ 507945 w 1015890"/>
                <a:gd name="connsiteY22" fmla="*/ 0 h 1015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015890" h="1015890">
                  <a:moveTo>
                    <a:pt x="569988" y="253995"/>
                  </a:moveTo>
                  <a:cubicBezTo>
                    <a:pt x="501091" y="253995"/>
                    <a:pt x="453876" y="296059"/>
                    <a:pt x="453876" y="373332"/>
                  </a:cubicBezTo>
                  <a:lnTo>
                    <a:pt x="453876" y="439944"/>
                  </a:lnTo>
                  <a:lnTo>
                    <a:pt x="376154" y="439944"/>
                  </a:lnTo>
                  <a:lnTo>
                    <a:pt x="376154" y="530523"/>
                  </a:lnTo>
                  <a:lnTo>
                    <a:pt x="453876" y="530523"/>
                  </a:lnTo>
                  <a:lnTo>
                    <a:pt x="453876" y="761895"/>
                  </a:lnTo>
                  <a:lnTo>
                    <a:pt x="453876" y="761985"/>
                  </a:lnTo>
                  <a:lnTo>
                    <a:pt x="547321" y="761985"/>
                  </a:lnTo>
                  <a:lnTo>
                    <a:pt x="547321" y="530612"/>
                  </a:lnTo>
                  <a:lnTo>
                    <a:pt x="625311" y="530612"/>
                  </a:lnTo>
                  <a:lnTo>
                    <a:pt x="637003" y="440034"/>
                  </a:lnTo>
                  <a:lnTo>
                    <a:pt x="547321" y="440034"/>
                  </a:lnTo>
                  <a:lnTo>
                    <a:pt x="547321" y="382336"/>
                  </a:lnTo>
                  <a:cubicBezTo>
                    <a:pt x="547321" y="356175"/>
                    <a:pt x="554622" y="338346"/>
                    <a:pt x="592117" y="338346"/>
                  </a:cubicBezTo>
                  <a:lnTo>
                    <a:pt x="639646" y="338302"/>
                  </a:lnTo>
                  <a:lnTo>
                    <a:pt x="639646" y="257534"/>
                  </a:lnTo>
                  <a:cubicBezTo>
                    <a:pt x="631403" y="256459"/>
                    <a:pt x="603002" y="253995"/>
                    <a:pt x="569988" y="253995"/>
                  </a:cubicBezTo>
                  <a:close/>
                  <a:moveTo>
                    <a:pt x="507945" y="0"/>
                  </a:moveTo>
                  <a:cubicBezTo>
                    <a:pt x="788475" y="0"/>
                    <a:pt x="1015890" y="227415"/>
                    <a:pt x="1015890" y="507945"/>
                  </a:cubicBezTo>
                  <a:cubicBezTo>
                    <a:pt x="1015890" y="788476"/>
                    <a:pt x="788475" y="1015890"/>
                    <a:pt x="507945" y="1015890"/>
                  </a:cubicBezTo>
                  <a:cubicBezTo>
                    <a:pt x="227415" y="1015890"/>
                    <a:pt x="0" y="788476"/>
                    <a:pt x="0" y="507945"/>
                  </a:cubicBezTo>
                  <a:cubicBezTo>
                    <a:pt x="0" y="227415"/>
                    <a:pt x="227415" y="0"/>
                    <a:pt x="507945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448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/>
            </a:p>
          </p:txBody>
        </p:sp>
        <p:sp>
          <p:nvSpPr>
            <p:cNvPr id="73" name="LOGO - Twitter">
              <a:extLst>
                <a:ext uri="{FF2B5EF4-FFF2-40B4-BE49-F238E27FC236}">
                  <a16:creationId xmlns:a16="http://schemas.microsoft.com/office/drawing/2014/main" id="{7CA60067-9771-4230-A015-1825D92B439A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4600800" y="4942311"/>
              <a:ext cx="360000" cy="360000"/>
            </a:xfrm>
            <a:custGeom>
              <a:avLst/>
              <a:gdLst>
                <a:gd name="connsiteX0" fmla="*/ 636959 w 1015890"/>
                <a:gd name="connsiteY0" fmla="*/ 308064 h 1015890"/>
                <a:gd name="connsiteX1" fmla="*/ 515561 w 1015890"/>
                <a:gd name="connsiteY1" fmla="*/ 429462 h 1015890"/>
                <a:gd name="connsiteX2" fmla="*/ 518741 w 1015890"/>
                <a:gd name="connsiteY2" fmla="*/ 457146 h 1015890"/>
                <a:gd name="connsiteX3" fmla="*/ 268509 w 1015890"/>
                <a:gd name="connsiteY3" fmla="*/ 330283 h 1015890"/>
                <a:gd name="connsiteX4" fmla="*/ 252069 w 1015890"/>
                <a:gd name="connsiteY4" fmla="*/ 391340 h 1015890"/>
                <a:gd name="connsiteX5" fmla="*/ 306093 w 1015890"/>
                <a:gd name="connsiteY5" fmla="*/ 492401 h 1015890"/>
                <a:gd name="connsiteX6" fmla="*/ 251128 w 1015890"/>
                <a:gd name="connsiteY6" fmla="*/ 477215 h 1015890"/>
                <a:gd name="connsiteX7" fmla="*/ 251128 w 1015890"/>
                <a:gd name="connsiteY7" fmla="*/ 478738 h 1015890"/>
                <a:gd name="connsiteX8" fmla="*/ 348515 w 1015890"/>
                <a:gd name="connsiteY8" fmla="*/ 597762 h 1015890"/>
                <a:gd name="connsiteX9" fmla="*/ 316531 w 1015890"/>
                <a:gd name="connsiteY9" fmla="*/ 602017 h 1015890"/>
                <a:gd name="connsiteX10" fmla="*/ 293685 w 1015890"/>
                <a:gd name="connsiteY10" fmla="*/ 599867 h 1015890"/>
                <a:gd name="connsiteX11" fmla="*/ 407109 w 1015890"/>
                <a:gd name="connsiteY11" fmla="*/ 684174 h 1015890"/>
                <a:gd name="connsiteX12" fmla="*/ 256324 w 1015890"/>
                <a:gd name="connsiteY12" fmla="*/ 736137 h 1015890"/>
                <a:gd name="connsiteX13" fmla="*/ 227386 w 1015890"/>
                <a:gd name="connsiteY13" fmla="*/ 734435 h 1015890"/>
                <a:gd name="connsiteX14" fmla="*/ 413470 w 1015890"/>
                <a:gd name="connsiteY14" fmla="*/ 788997 h 1015890"/>
                <a:gd name="connsiteX15" fmla="*/ 758894 w 1015890"/>
                <a:gd name="connsiteY15" fmla="*/ 443528 h 1015890"/>
                <a:gd name="connsiteX16" fmla="*/ 758536 w 1015890"/>
                <a:gd name="connsiteY16" fmla="*/ 427849 h 1015890"/>
                <a:gd name="connsiteX17" fmla="*/ 819055 w 1015890"/>
                <a:gd name="connsiteY17" fmla="*/ 365045 h 1015890"/>
                <a:gd name="connsiteX18" fmla="*/ 749308 w 1015890"/>
                <a:gd name="connsiteY18" fmla="*/ 384128 h 1015890"/>
                <a:gd name="connsiteX19" fmla="*/ 802705 w 1015890"/>
                <a:gd name="connsiteY19" fmla="*/ 316978 h 1015890"/>
                <a:gd name="connsiteX20" fmla="*/ 725610 w 1015890"/>
                <a:gd name="connsiteY20" fmla="*/ 346410 h 1015890"/>
                <a:gd name="connsiteX21" fmla="*/ 636959 w 1015890"/>
                <a:gd name="connsiteY21" fmla="*/ 308064 h 1015890"/>
                <a:gd name="connsiteX22" fmla="*/ 507945 w 1015890"/>
                <a:gd name="connsiteY22" fmla="*/ 0 h 1015890"/>
                <a:gd name="connsiteX23" fmla="*/ 1015890 w 1015890"/>
                <a:gd name="connsiteY23" fmla="*/ 507945 h 1015890"/>
                <a:gd name="connsiteX24" fmla="*/ 507945 w 1015890"/>
                <a:gd name="connsiteY24" fmla="*/ 1015890 h 1015890"/>
                <a:gd name="connsiteX25" fmla="*/ 0 w 1015890"/>
                <a:gd name="connsiteY25" fmla="*/ 507945 h 1015890"/>
                <a:gd name="connsiteX26" fmla="*/ 507945 w 1015890"/>
                <a:gd name="connsiteY26" fmla="*/ 0 h 1015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015890" h="1015890">
                  <a:moveTo>
                    <a:pt x="636959" y="308064"/>
                  </a:moveTo>
                  <a:cubicBezTo>
                    <a:pt x="569898" y="308064"/>
                    <a:pt x="515561" y="362447"/>
                    <a:pt x="515561" y="429462"/>
                  </a:cubicBezTo>
                  <a:cubicBezTo>
                    <a:pt x="515561" y="438959"/>
                    <a:pt x="516636" y="448232"/>
                    <a:pt x="518741" y="457146"/>
                  </a:cubicBezTo>
                  <a:cubicBezTo>
                    <a:pt x="417860" y="452084"/>
                    <a:pt x="328357" y="403749"/>
                    <a:pt x="268509" y="330283"/>
                  </a:cubicBezTo>
                  <a:cubicBezTo>
                    <a:pt x="258071" y="348201"/>
                    <a:pt x="252069" y="369077"/>
                    <a:pt x="252069" y="391340"/>
                  </a:cubicBezTo>
                  <a:cubicBezTo>
                    <a:pt x="252069" y="433449"/>
                    <a:pt x="273526" y="470630"/>
                    <a:pt x="306093" y="492401"/>
                  </a:cubicBezTo>
                  <a:cubicBezTo>
                    <a:pt x="286204" y="491774"/>
                    <a:pt x="267479" y="486308"/>
                    <a:pt x="251128" y="477215"/>
                  </a:cubicBezTo>
                  <a:cubicBezTo>
                    <a:pt x="251128" y="477752"/>
                    <a:pt x="251128" y="478245"/>
                    <a:pt x="251128" y="478738"/>
                  </a:cubicBezTo>
                  <a:cubicBezTo>
                    <a:pt x="251128" y="537555"/>
                    <a:pt x="293013" y="586607"/>
                    <a:pt x="348515" y="597762"/>
                  </a:cubicBezTo>
                  <a:cubicBezTo>
                    <a:pt x="338346" y="600539"/>
                    <a:pt x="327595" y="602017"/>
                    <a:pt x="316531" y="602017"/>
                  </a:cubicBezTo>
                  <a:cubicBezTo>
                    <a:pt x="308691" y="602017"/>
                    <a:pt x="301076" y="601256"/>
                    <a:pt x="293685" y="599867"/>
                  </a:cubicBezTo>
                  <a:cubicBezTo>
                    <a:pt x="309139" y="648068"/>
                    <a:pt x="353980" y="683188"/>
                    <a:pt x="407109" y="684174"/>
                  </a:cubicBezTo>
                  <a:cubicBezTo>
                    <a:pt x="365538" y="716741"/>
                    <a:pt x="313216" y="736137"/>
                    <a:pt x="256324" y="736137"/>
                  </a:cubicBezTo>
                  <a:cubicBezTo>
                    <a:pt x="246559" y="736137"/>
                    <a:pt x="236838" y="735555"/>
                    <a:pt x="227386" y="734435"/>
                  </a:cubicBezTo>
                  <a:cubicBezTo>
                    <a:pt x="281097" y="768884"/>
                    <a:pt x="344932" y="788997"/>
                    <a:pt x="413470" y="788997"/>
                  </a:cubicBezTo>
                  <a:cubicBezTo>
                    <a:pt x="636779" y="788997"/>
                    <a:pt x="758894" y="603988"/>
                    <a:pt x="758894" y="443528"/>
                  </a:cubicBezTo>
                  <a:cubicBezTo>
                    <a:pt x="758894" y="438287"/>
                    <a:pt x="758760" y="433046"/>
                    <a:pt x="758536" y="427849"/>
                  </a:cubicBezTo>
                  <a:cubicBezTo>
                    <a:pt x="782188" y="410737"/>
                    <a:pt x="802794" y="389369"/>
                    <a:pt x="819055" y="365045"/>
                  </a:cubicBezTo>
                  <a:cubicBezTo>
                    <a:pt x="797284" y="374676"/>
                    <a:pt x="773856" y="381216"/>
                    <a:pt x="749308" y="384128"/>
                  </a:cubicBezTo>
                  <a:cubicBezTo>
                    <a:pt x="774394" y="369121"/>
                    <a:pt x="793611" y="345335"/>
                    <a:pt x="802705" y="316978"/>
                  </a:cubicBezTo>
                  <a:cubicBezTo>
                    <a:pt x="779232" y="330910"/>
                    <a:pt x="753250" y="340989"/>
                    <a:pt x="725610" y="346410"/>
                  </a:cubicBezTo>
                  <a:cubicBezTo>
                    <a:pt x="703481" y="322802"/>
                    <a:pt x="671900" y="308064"/>
                    <a:pt x="636959" y="308064"/>
                  </a:cubicBezTo>
                  <a:close/>
                  <a:moveTo>
                    <a:pt x="507945" y="0"/>
                  </a:moveTo>
                  <a:cubicBezTo>
                    <a:pt x="788476" y="0"/>
                    <a:pt x="1015890" y="227415"/>
                    <a:pt x="1015890" y="507945"/>
                  </a:cubicBezTo>
                  <a:cubicBezTo>
                    <a:pt x="1015890" y="788476"/>
                    <a:pt x="788475" y="1015890"/>
                    <a:pt x="507945" y="1015890"/>
                  </a:cubicBezTo>
                  <a:cubicBezTo>
                    <a:pt x="227415" y="1015890"/>
                    <a:pt x="0" y="788476"/>
                    <a:pt x="0" y="507945"/>
                  </a:cubicBezTo>
                  <a:cubicBezTo>
                    <a:pt x="0" y="227415"/>
                    <a:pt x="227415" y="0"/>
                    <a:pt x="507945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448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/>
            </a:p>
          </p:txBody>
        </p:sp>
      </p:grpSp>
      <p:sp>
        <p:nvSpPr>
          <p:cNvPr id="11" name="Inhalt 2">
            <a:extLst>
              <a:ext uri="{FF2B5EF4-FFF2-40B4-BE49-F238E27FC236}">
                <a16:creationId xmlns:a16="http://schemas.microsoft.com/office/drawing/2014/main" id="{475D81D7-A0AC-4279-90B1-0B5DEBD9EDF1}"/>
              </a:ext>
            </a:extLst>
          </p:cNvPr>
          <p:cNvSpPr>
            <a:spLocks noGrp="1"/>
          </p:cNvSpPr>
          <p:nvPr userDrawn="1">
            <p:ph type="body" sz="quarter" idx="22" hasCustomPrompt="1"/>
          </p:nvPr>
        </p:nvSpPr>
        <p:spPr bwMode="gray">
          <a:xfrm>
            <a:off x="8665199" y="3429006"/>
            <a:ext cx="2984400" cy="2780992"/>
          </a:xfrm>
          <a:noFill/>
        </p:spPr>
        <p:txBody>
          <a:bodyPr lIns="0" tIns="216000" rIns="0" bIns="0" anchor="t" anchorCtr="0"/>
          <a:lstStyle>
            <a:lvl1pPr marL="0" indent="0">
              <a:buNone/>
              <a:defRPr sz="16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/>
              <a:t>Mastertextformat </a:t>
            </a:r>
            <a:br>
              <a:rPr lang="de-DE"/>
            </a:br>
            <a:r>
              <a:rPr lang="de-DE"/>
              <a:t>bearbeiten</a:t>
            </a:r>
          </a:p>
        </p:txBody>
      </p:sp>
      <p:cxnSp>
        <p:nvCxnSpPr>
          <p:cNvPr id="9" name="Gerader Verbinder 2">
            <a:extLst>
              <a:ext uri="{FF2B5EF4-FFF2-40B4-BE49-F238E27FC236}">
                <a16:creationId xmlns:a16="http://schemas.microsoft.com/office/drawing/2014/main" id="{DF304444-488E-4CA8-A6A2-A52D45889B85}"/>
              </a:ext>
            </a:extLst>
          </p:cNvPr>
          <p:cNvCxnSpPr/>
          <p:nvPr userDrawn="1"/>
        </p:nvCxnSpPr>
        <p:spPr bwMode="gray">
          <a:xfrm>
            <a:off x="8665199" y="3428998"/>
            <a:ext cx="720000" cy="0"/>
          </a:xfrm>
          <a:prstGeom prst="line">
            <a:avLst/>
          </a:prstGeom>
          <a:ln w="19050" cap="flat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939216FA-11C8-4179-A3B2-CC4B05ABF662}"/>
              </a:ext>
            </a:extLst>
          </p:cNvPr>
          <p:cNvSpPr>
            <a:spLocks noGrp="1"/>
          </p:cNvSpPr>
          <p:nvPr userDrawn="1">
            <p:ph type="body" sz="quarter" idx="23" hasCustomPrompt="1"/>
          </p:nvPr>
        </p:nvSpPr>
        <p:spPr bwMode="gray">
          <a:xfrm>
            <a:off x="8665199" y="1511998"/>
            <a:ext cx="2984400" cy="1916995"/>
          </a:xfrm>
          <a:noFill/>
        </p:spPr>
        <p:txBody>
          <a:bodyPr lIns="0" rIns="0" bIns="216000" anchor="b" anchorCtr="0"/>
          <a:lstStyle>
            <a:lvl1pPr marL="0" indent="0">
              <a:buNone/>
              <a:defRPr sz="2000" b="1">
                <a:solidFill>
                  <a:schemeClr val="tx2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/>
              <a:t>Mastertextformat </a:t>
            </a:r>
            <a:br>
              <a:rPr lang="de-DE"/>
            </a:br>
            <a:r>
              <a:rPr lang="de-DE"/>
              <a:t>bearbeiten</a:t>
            </a:r>
          </a:p>
        </p:txBody>
      </p:sp>
      <p:grpSp>
        <p:nvGrpSpPr>
          <p:cNvPr id="67" name="Social Media">
            <a:extLst>
              <a:ext uri="{FF2B5EF4-FFF2-40B4-BE49-F238E27FC236}">
                <a16:creationId xmlns:a16="http://schemas.microsoft.com/office/drawing/2014/main" id="{D4062BA5-5F73-4E7E-857C-157AFB0F1E62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4600800" y="4942311"/>
            <a:ext cx="2387520" cy="288000"/>
            <a:chOff x="4600800" y="4942311"/>
            <a:chExt cx="2984400" cy="360000"/>
          </a:xfrm>
        </p:grpSpPr>
        <p:sp>
          <p:nvSpPr>
            <p:cNvPr id="48" name="LOGO - YouTube">
              <a:extLst>
                <a:ext uri="{FF2B5EF4-FFF2-40B4-BE49-F238E27FC236}">
                  <a16:creationId xmlns:a16="http://schemas.microsoft.com/office/drawing/2014/main" id="{3773A84F-3BD3-4037-AA85-C637DE5EE9A0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7225200" y="4942311"/>
              <a:ext cx="360000" cy="360000"/>
            </a:xfrm>
            <a:custGeom>
              <a:avLst/>
              <a:gdLst>
                <a:gd name="connsiteX0" fmla="*/ 452129 w 1015890"/>
                <a:gd name="connsiteY0" fmla="*/ 430761 h 1015890"/>
                <a:gd name="connsiteX1" fmla="*/ 594895 w 1015890"/>
                <a:gd name="connsiteY1" fmla="*/ 505257 h 1015890"/>
                <a:gd name="connsiteX2" fmla="*/ 452129 w 1015890"/>
                <a:gd name="connsiteY2" fmla="*/ 583382 h 1015890"/>
                <a:gd name="connsiteX3" fmla="*/ 507811 w 1015890"/>
                <a:gd name="connsiteY3" fmla="*/ 317426 h 1015890"/>
                <a:gd name="connsiteX4" fmla="*/ 507990 w 1015890"/>
                <a:gd name="connsiteY4" fmla="*/ 317428 h 1015890"/>
                <a:gd name="connsiteX5" fmla="*/ 447683 w 1015890"/>
                <a:gd name="connsiteY5" fmla="*/ 318075 h 1015890"/>
                <a:gd name="connsiteX6" fmla="*/ 312275 w 1015890"/>
                <a:gd name="connsiteY6" fmla="*/ 324280 h 1015890"/>
                <a:gd name="connsiteX7" fmla="*/ 247500 w 1015890"/>
                <a:gd name="connsiteY7" fmla="*/ 386726 h 1015890"/>
                <a:gd name="connsiteX8" fmla="*/ 239302 w 1015890"/>
                <a:gd name="connsiteY8" fmla="*/ 504764 h 1015890"/>
                <a:gd name="connsiteX9" fmla="*/ 239302 w 1015890"/>
                <a:gd name="connsiteY9" fmla="*/ 511080 h 1015890"/>
                <a:gd name="connsiteX10" fmla="*/ 247500 w 1015890"/>
                <a:gd name="connsiteY10" fmla="*/ 629119 h 1015890"/>
                <a:gd name="connsiteX11" fmla="*/ 312275 w 1015890"/>
                <a:gd name="connsiteY11" fmla="*/ 691565 h 1015890"/>
                <a:gd name="connsiteX12" fmla="*/ 447658 w 1015890"/>
                <a:gd name="connsiteY12" fmla="*/ 697770 h 1015890"/>
                <a:gd name="connsiteX13" fmla="*/ 507990 w 1015890"/>
                <a:gd name="connsiteY13" fmla="*/ 698417 h 1015890"/>
                <a:gd name="connsiteX14" fmla="*/ 507811 w 1015890"/>
                <a:gd name="connsiteY14" fmla="*/ 698419 h 1015890"/>
                <a:gd name="connsiteX15" fmla="*/ 508169 w 1015890"/>
                <a:gd name="connsiteY15" fmla="*/ 698419 h 1015890"/>
                <a:gd name="connsiteX16" fmla="*/ 507990 w 1015890"/>
                <a:gd name="connsiteY16" fmla="*/ 698417 h 1015890"/>
                <a:gd name="connsiteX17" fmla="*/ 568297 w 1015890"/>
                <a:gd name="connsiteY17" fmla="*/ 697770 h 1015890"/>
                <a:gd name="connsiteX18" fmla="*/ 703661 w 1015890"/>
                <a:gd name="connsiteY18" fmla="*/ 691565 h 1015890"/>
                <a:gd name="connsiteX19" fmla="*/ 768436 w 1015890"/>
                <a:gd name="connsiteY19" fmla="*/ 629119 h 1015890"/>
                <a:gd name="connsiteX20" fmla="*/ 776633 w 1015890"/>
                <a:gd name="connsiteY20" fmla="*/ 511080 h 1015890"/>
                <a:gd name="connsiteX21" fmla="*/ 776633 w 1015890"/>
                <a:gd name="connsiteY21" fmla="*/ 504764 h 1015890"/>
                <a:gd name="connsiteX22" fmla="*/ 768436 w 1015890"/>
                <a:gd name="connsiteY22" fmla="*/ 386726 h 1015890"/>
                <a:gd name="connsiteX23" fmla="*/ 703661 w 1015890"/>
                <a:gd name="connsiteY23" fmla="*/ 324280 h 1015890"/>
                <a:gd name="connsiteX24" fmla="*/ 568297 w 1015890"/>
                <a:gd name="connsiteY24" fmla="*/ 318075 h 1015890"/>
                <a:gd name="connsiteX25" fmla="*/ 507990 w 1015890"/>
                <a:gd name="connsiteY25" fmla="*/ 317428 h 1015890"/>
                <a:gd name="connsiteX26" fmla="*/ 508169 w 1015890"/>
                <a:gd name="connsiteY26" fmla="*/ 317426 h 1015890"/>
                <a:gd name="connsiteX27" fmla="*/ 507945 w 1015890"/>
                <a:gd name="connsiteY27" fmla="*/ 0 h 1015890"/>
                <a:gd name="connsiteX28" fmla="*/ 1015890 w 1015890"/>
                <a:gd name="connsiteY28" fmla="*/ 507945 h 1015890"/>
                <a:gd name="connsiteX29" fmla="*/ 507945 w 1015890"/>
                <a:gd name="connsiteY29" fmla="*/ 1015890 h 1015890"/>
                <a:gd name="connsiteX30" fmla="*/ 0 w 1015890"/>
                <a:gd name="connsiteY30" fmla="*/ 507945 h 1015890"/>
                <a:gd name="connsiteX31" fmla="*/ 507945 w 1015890"/>
                <a:gd name="connsiteY31" fmla="*/ 0 h 1015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015890" h="1015890">
                  <a:moveTo>
                    <a:pt x="452129" y="430761"/>
                  </a:moveTo>
                  <a:lnTo>
                    <a:pt x="594895" y="505257"/>
                  </a:lnTo>
                  <a:lnTo>
                    <a:pt x="452129" y="583382"/>
                  </a:lnTo>
                  <a:close/>
                  <a:moveTo>
                    <a:pt x="507811" y="317426"/>
                  </a:moveTo>
                  <a:lnTo>
                    <a:pt x="507990" y="317428"/>
                  </a:lnTo>
                  <a:lnTo>
                    <a:pt x="447683" y="318075"/>
                  </a:lnTo>
                  <a:cubicBezTo>
                    <a:pt x="386458" y="319299"/>
                    <a:pt x="327596" y="322029"/>
                    <a:pt x="312275" y="324280"/>
                  </a:cubicBezTo>
                  <a:cubicBezTo>
                    <a:pt x="276931" y="329969"/>
                    <a:pt x="257714" y="345782"/>
                    <a:pt x="247500" y="386726"/>
                  </a:cubicBezTo>
                  <a:cubicBezTo>
                    <a:pt x="244051" y="400523"/>
                    <a:pt x="239302" y="475960"/>
                    <a:pt x="239302" y="504764"/>
                  </a:cubicBezTo>
                  <a:lnTo>
                    <a:pt x="239302" y="511080"/>
                  </a:lnTo>
                  <a:cubicBezTo>
                    <a:pt x="239302" y="539884"/>
                    <a:pt x="244051" y="615321"/>
                    <a:pt x="247500" y="629119"/>
                  </a:cubicBezTo>
                  <a:cubicBezTo>
                    <a:pt x="257714" y="670062"/>
                    <a:pt x="276931" y="685876"/>
                    <a:pt x="312275" y="691565"/>
                  </a:cubicBezTo>
                  <a:cubicBezTo>
                    <a:pt x="327563" y="693816"/>
                    <a:pt x="386417" y="696546"/>
                    <a:pt x="447658" y="697770"/>
                  </a:cubicBezTo>
                  <a:lnTo>
                    <a:pt x="507990" y="698417"/>
                  </a:lnTo>
                  <a:lnTo>
                    <a:pt x="507811" y="698419"/>
                  </a:lnTo>
                  <a:lnTo>
                    <a:pt x="508169" y="698419"/>
                  </a:lnTo>
                  <a:lnTo>
                    <a:pt x="507990" y="698417"/>
                  </a:lnTo>
                  <a:lnTo>
                    <a:pt x="568297" y="697770"/>
                  </a:lnTo>
                  <a:cubicBezTo>
                    <a:pt x="629520" y="696546"/>
                    <a:pt x="688374" y="693816"/>
                    <a:pt x="703661" y="691565"/>
                  </a:cubicBezTo>
                  <a:cubicBezTo>
                    <a:pt x="739005" y="685876"/>
                    <a:pt x="758222" y="670062"/>
                    <a:pt x="768436" y="629119"/>
                  </a:cubicBezTo>
                  <a:cubicBezTo>
                    <a:pt x="771885" y="615321"/>
                    <a:pt x="776633" y="539884"/>
                    <a:pt x="776633" y="511080"/>
                  </a:cubicBezTo>
                  <a:lnTo>
                    <a:pt x="776633" y="504764"/>
                  </a:lnTo>
                  <a:cubicBezTo>
                    <a:pt x="776633" y="475960"/>
                    <a:pt x="771885" y="400523"/>
                    <a:pt x="768436" y="386726"/>
                  </a:cubicBezTo>
                  <a:cubicBezTo>
                    <a:pt x="758222" y="345782"/>
                    <a:pt x="739005" y="329969"/>
                    <a:pt x="703661" y="324280"/>
                  </a:cubicBezTo>
                  <a:cubicBezTo>
                    <a:pt x="688374" y="322029"/>
                    <a:pt x="629520" y="319299"/>
                    <a:pt x="568297" y="318075"/>
                  </a:cubicBezTo>
                  <a:lnTo>
                    <a:pt x="507990" y="317428"/>
                  </a:lnTo>
                  <a:lnTo>
                    <a:pt x="508169" y="317426"/>
                  </a:lnTo>
                  <a:close/>
                  <a:moveTo>
                    <a:pt x="507945" y="0"/>
                  </a:moveTo>
                  <a:cubicBezTo>
                    <a:pt x="788475" y="0"/>
                    <a:pt x="1015890" y="227415"/>
                    <a:pt x="1015890" y="507945"/>
                  </a:cubicBezTo>
                  <a:cubicBezTo>
                    <a:pt x="1015890" y="788476"/>
                    <a:pt x="788476" y="1015890"/>
                    <a:pt x="507945" y="1015890"/>
                  </a:cubicBezTo>
                  <a:cubicBezTo>
                    <a:pt x="227415" y="1015890"/>
                    <a:pt x="0" y="788476"/>
                    <a:pt x="0" y="507945"/>
                  </a:cubicBezTo>
                  <a:cubicBezTo>
                    <a:pt x="0" y="227415"/>
                    <a:pt x="227414" y="0"/>
                    <a:pt x="507945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448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/>
            </a:p>
          </p:txBody>
        </p:sp>
        <p:sp>
          <p:nvSpPr>
            <p:cNvPr id="44" name="LOGO - Xing">
              <a:extLst>
                <a:ext uri="{FF2B5EF4-FFF2-40B4-BE49-F238E27FC236}">
                  <a16:creationId xmlns:a16="http://schemas.microsoft.com/office/drawing/2014/main" id="{BAC8F88C-4934-4585-9590-DCBDC9B03F56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569101" y="4942311"/>
              <a:ext cx="360000" cy="360000"/>
            </a:xfrm>
            <a:custGeom>
              <a:avLst/>
              <a:gdLst>
                <a:gd name="connsiteX0" fmla="*/ 331178 w 1015890"/>
                <a:gd name="connsiteY0" fmla="*/ 354293 h 1015890"/>
                <a:gd name="connsiteX1" fmla="*/ 321188 w 1015890"/>
                <a:gd name="connsiteY1" fmla="*/ 358862 h 1015890"/>
                <a:gd name="connsiteX2" fmla="*/ 321592 w 1015890"/>
                <a:gd name="connsiteY2" fmla="*/ 370106 h 1015890"/>
                <a:gd name="connsiteX3" fmla="*/ 371136 w 1015890"/>
                <a:gd name="connsiteY3" fmla="*/ 455846 h 1015890"/>
                <a:gd name="connsiteX4" fmla="*/ 371136 w 1015890"/>
                <a:gd name="connsiteY4" fmla="*/ 456249 h 1015890"/>
                <a:gd name="connsiteX5" fmla="*/ 293281 w 1015890"/>
                <a:gd name="connsiteY5" fmla="*/ 593595 h 1015890"/>
                <a:gd name="connsiteX6" fmla="*/ 293281 w 1015890"/>
                <a:gd name="connsiteY6" fmla="*/ 604839 h 1015890"/>
                <a:gd name="connsiteX7" fmla="*/ 302866 w 1015890"/>
                <a:gd name="connsiteY7" fmla="*/ 609856 h 1015890"/>
                <a:gd name="connsiteX8" fmla="*/ 376108 w 1015890"/>
                <a:gd name="connsiteY8" fmla="*/ 609856 h 1015890"/>
                <a:gd name="connsiteX9" fmla="*/ 396088 w 1015890"/>
                <a:gd name="connsiteY9" fmla="*/ 595700 h 1015890"/>
                <a:gd name="connsiteX10" fmla="*/ 475154 w 1015890"/>
                <a:gd name="connsiteY10" fmla="*/ 455846 h 1015890"/>
                <a:gd name="connsiteX11" fmla="*/ 424802 w 1015890"/>
                <a:gd name="connsiteY11" fmla="*/ 368045 h 1015890"/>
                <a:gd name="connsiteX12" fmla="*/ 404420 w 1015890"/>
                <a:gd name="connsiteY12" fmla="*/ 354293 h 1015890"/>
                <a:gd name="connsiteX13" fmla="*/ 638929 w 1015890"/>
                <a:gd name="connsiteY13" fmla="*/ 253950 h 1015890"/>
                <a:gd name="connsiteX14" fmla="*/ 619308 w 1015890"/>
                <a:gd name="connsiteY14" fmla="*/ 267882 h 1015890"/>
                <a:gd name="connsiteX15" fmla="*/ 456294 w 1015890"/>
                <a:gd name="connsiteY15" fmla="*/ 556952 h 1015890"/>
                <a:gd name="connsiteX16" fmla="*/ 560401 w 1015890"/>
                <a:gd name="connsiteY16" fmla="*/ 747919 h 1015890"/>
                <a:gd name="connsiteX17" fmla="*/ 580873 w 1015890"/>
                <a:gd name="connsiteY17" fmla="*/ 761850 h 1015890"/>
                <a:gd name="connsiteX18" fmla="*/ 654025 w 1015890"/>
                <a:gd name="connsiteY18" fmla="*/ 761850 h 1015890"/>
                <a:gd name="connsiteX19" fmla="*/ 663746 w 1015890"/>
                <a:gd name="connsiteY19" fmla="*/ 757192 h 1015890"/>
                <a:gd name="connsiteX20" fmla="*/ 663612 w 1015890"/>
                <a:gd name="connsiteY20" fmla="*/ 745858 h 1015890"/>
                <a:gd name="connsiteX21" fmla="*/ 560356 w 1015890"/>
                <a:gd name="connsiteY21" fmla="*/ 557176 h 1015890"/>
                <a:gd name="connsiteX22" fmla="*/ 560356 w 1015890"/>
                <a:gd name="connsiteY22" fmla="*/ 556683 h 1015890"/>
                <a:gd name="connsiteX23" fmla="*/ 722563 w 1015890"/>
                <a:gd name="connsiteY23" fmla="*/ 269897 h 1015890"/>
                <a:gd name="connsiteX24" fmla="*/ 722698 w 1015890"/>
                <a:gd name="connsiteY24" fmla="*/ 258609 h 1015890"/>
                <a:gd name="connsiteX25" fmla="*/ 712977 w 1015890"/>
                <a:gd name="connsiteY25" fmla="*/ 253950 h 1015890"/>
                <a:gd name="connsiteX26" fmla="*/ 507945 w 1015890"/>
                <a:gd name="connsiteY26" fmla="*/ 0 h 1015890"/>
                <a:gd name="connsiteX27" fmla="*/ 1015890 w 1015890"/>
                <a:gd name="connsiteY27" fmla="*/ 507945 h 1015890"/>
                <a:gd name="connsiteX28" fmla="*/ 507945 w 1015890"/>
                <a:gd name="connsiteY28" fmla="*/ 1015890 h 1015890"/>
                <a:gd name="connsiteX29" fmla="*/ 0 w 1015890"/>
                <a:gd name="connsiteY29" fmla="*/ 507945 h 1015890"/>
                <a:gd name="connsiteX30" fmla="*/ 507945 w 1015890"/>
                <a:gd name="connsiteY30" fmla="*/ 0 h 1015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015890" h="1015890">
                  <a:moveTo>
                    <a:pt x="331178" y="354293"/>
                  </a:moveTo>
                  <a:cubicBezTo>
                    <a:pt x="326743" y="354293"/>
                    <a:pt x="323070" y="355861"/>
                    <a:pt x="321188" y="358862"/>
                  </a:cubicBezTo>
                  <a:cubicBezTo>
                    <a:pt x="319262" y="361998"/>
                    <a:pt x="319576" y="366030"/>
                    <a:pt x="321592" y="370106"/>
                  </a:cubicBezTo>
                  <a:lnTo>
                    <a:pt x="371136" y="455846"/>
                  </a:lnTo>
                  <a:cubicBezTo>
                    <a:pt x="371226" y="456025"/>
                    <a:pt x="371226" y="456115"/>
                    <a:pt x="371136" y="456249"/>
                  </a:cubicBezTo>
                  <a:lnTo>
                    <a:pt x="293281" y="593595"/>
                  </a:lnTo>
                  <a:cubicBezTo>
                    <a:pt x="291265" y="597626"/>
                    <a:pt x="291354" y="601703"/>
                    <a:pt x="293281" y="604839"/>
                  </a:cubicBezTo>
                  <a:cubicBezTo>
                    <a:pt x="295162" y="607840"/>
                    <a:pt x="298432" y="609856"/>
                    <a:pt x="302866" y="609856"/>
                  </a:cubicBezTo>
                  <a:lnTo>
                    <a:pt x="376108" y="609856"/>
                  </a:lnTo>
                  <a:cubicBezTo>
                    <a:pt x="387083" y="609856"/>
                    <a:pt x="392325" y="602464"/>
                    <a:pt x="396088" y="595700"/>
                  </a:cubicBezTo>
                  <a:cubicBezTo>
                    <a:pt x="396088" y="595700"/>
                    <a:pt x="472196" y="461087"/>
                    <a:pt x="475154" y="455846"/>
                  </a:cubicBezTo>
                  <a:cubicBezTo>
                    <a:pt x="474839" y="455353"/>
                    <a:pt x="424802" y="368045"/>
                    <a:pt x="424802" y="368045"/>
                  </a:cubicBezTo>
                  <a:cubicBezTo>
                    <a:pt x="421174" y="361550"/>
                    <a:pt x="415664" y="354293"/>
                    <a:pt x="404420" y="354293"/>
                  </a:cubicBezTo>
                  <a:close/>
                  <a:moveTo>
                    <a:pt x="638929" y="253950"/>
                  </a:moveTo>
                  <a:cubicBezTo>
                    <a:pt x="627999" y="253950"/>
                    <a:pt x="623250" y="260849"/>
                    <a:pt x="619308" y="267882"/>
                  </a:cubicBezTo>
                  <a:cubicBezTo>
                    <a:pt x="619308" y="267882"/>
                    <a:pt x="461491" y="547769"/>
                    <a:pt x="456294" y="556952"/>
                  </a:cubicBezTo>
                  <a:cubicBezTo>
                    <a:pt x="456563" y="557445"/>
                    <a:pt x="560401" y="747919"/>
                    <a:pt x="560401" y="747919"/>
                  </a:cubicBezTo>
                  <a:cubicBezTo>
                    <a:pt x="564029" y="754414"/>
                    <a:pt x="569629" y="761850"/>
                    <a:pt x="580873" y="761850"/>
                  </a:cubicBezTo>
                  <a:lnTo>
                    <a:pt x="654025" y="761850"/>
                  </a:lnTo>
                  <a:cubicBezTo>
                    <a:pt x="658460" y="761850"/>
                    <a:pt x="661864" y="760193"/>
                    <a:pt x="663746" y="757192"/>
                  </a:cubicBezTo>
                  <a:cubicBezTo>
                    <a:pt x="665672" y="754056"/>
                    <a:pt x="665627" y="749935"/>
                    <a:pt x="663612" y="745858"/>
                  </a:cubicBezTo>
                  <a:lnTo>
                    <a:pt x="560356" y="557176"/>
                  </a:lnTo>
                  <a:cubicBezTo>
                    <a:pt x="560267" y="557042"/>
                    <a:pt x="560267" y="556818"/>
                    <a:pt x="560356" y="556683"/>
                  </a:cubicBezTo>
                  <a:lnTo>
                    <a:pt x="722563" y="269897"/>
                  </a:lnTo>
                  <a:cubicBezTo>
                    <a:pt x="724579" y="265866"/>
                    <a:pt x="724669" y="261700"/>
                    <a:pt x="722698" y="258609"/>
                  </a:cubicBezTo>
                  <a:cubicBezTo>
                    <a:pt x="720816" y="255607"/>
                    <a:pt x="717367" y="253950"/>
                    <a:pt x="712977" y="253950"/>
                  </a:cubicBezTo>
                  <a:close/>
                  <a:moveTo>
                    <a:pt x="507945" y="0"/>
                  </a:moveTo>
                  <a:cubicBezTo>
                    <a:pt x="788476" y="0"/>
                    <a:pt x="1015890" y="227415"/>
                    <a:pt x="1015890" y="507945"/>
                  </a:cubicBezTo>
                  <a:cubicBezTo>
                    <a:pt x="1015890" y="788476"/>
                    <a:pt x="788476" y="1015890"/>
                    <a:pt x="507945" y="1015890"/>
                  </a:cubicBezTo>
                  <a:cubicBezTo>
                    <a:pt x="227414" y="1015890"/>
                    <a:pt x="0" y="788476"/>
                    <a:pt x="0" y="507945"/>
                  </a:cubicBezTo>
                  <a:cubicBezTo>
                    <a:pt x="0" y="227415"/>
                    <a:pt x="227414" y="0"/>
                    <a:pt x="507945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448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/>
            </a:p>
          </p:txBody>
        </p:sp>
        <p:sp>
          <p:nvSpPr>
            <p:cNvPr id="45" name="LOGO - LinkedIn">
              <a:extLst>
                <a:ext uri="{FF2B5EF4-FFF2-40B4-BE49-F238E27FC236}">
                  <a16:creationId xmlns:a16="http://schemas.microsoft.com/office/drawing/2014/main" id="{D4BFFA14-2F27-4D26-8635-94B0AE5B0E9F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5913000" y="4942311"/>
              <a:ext cx="360001" cy="360000"/>
            </a:xfrm>
            <a:custGeom>
              <a:avLst/>
              <a:gdLst>
                <a:gd name="connsiteX0" fmla="*/ 531912 w 1015891"/>
                <a:gd name="connsiteY0" fmla="*/ 478010 h 1015890"/>
                <a:gd name="connsiteX1" fmla="*/ 531912 w 1015891"/>
                <a:gd name="connsiteY1" fmla="*/ 478648 h 1015890"/>
                <a:gd name="connsiteX2" fmla="*/ 531331 w 1015891"/>
                <a:gd name="connsiteY2" fmla="*/ 478648 h 1015890"/>
                <a:gd name="connsiteX3" fmla="*/ 313754 w 1015891"/>
                <a:gd name="connsiteY3" fmla="*/ 441378 h 1015890"/>
                <a:gd name="connsiteX4" fmla="*/ 313754 w 1015891"/>
                <a:gd name="connsiteY4" fmla="*/ 698374 h 1015890"/>
                <a:gd name="connsiteX5" fmla="*/ 399181 w 1015891"/>
                <a:gd name="connsiteY5" fmla="*/ 698374 h 1015890"/>
                <a:gd name="connsiteX6" fmla="*/ 399181 w 1015891"/>
                <a:gd name="connsiteY6" fmla="*/ 441378 h 1015890"/>
                <a:gd name="connsiteX7" fmla="*/ 608917 w 1015891"/>
                <a:gd name="connsiteY7" fmla="*/ 435330 h 1015890"/>
                <a:gd name="connsiteX8" fmla="*/ 557054 w 1015891"/>
                <a:gd name="connsiteY8" fmla="*/ 450404 h 1015890"/>
                <a:gd name="connsiteX9" fmla="*/ 531912 w 1015891"/>
                <a:gd name="connsiteY9" fmla="*/ 478010 h 1015890"/>
                <a:gd name="connsiteX10" fmla="*/ 531912 w 1015891"/>
                <a:gd name="connsiteY10" fmla="*/ 441378 h 1015890"/>
                <a:gd name="connsiteX11" fmla="*/ 446486 w 1015891"/>
                <a:gd name="connsiteY11" fmla="*/ 441378 h 1015890"/>
                <a:gd name="connsiteX12" fmla="*/ 446442 w 1015891"/>
                <a:gd name="connsiteY12" fmla="*/ 698374 h 1015890"/>
                <a:gd name="connsiteX13" fmla="*/ 531868 w 1015891"/>
                <a:gd name="connsiteY13" fmla="*/ 698374 h 1015890"/>
                <a:gd name="connsiteX14" fmla="*/ 531868 w 1015891"/>
                <a:gd name="connsiteY14" fmla="*/ 554847 h 1015890"/>
                <a:gd name="connsiteX15" fmla="*/ 534690 w 1015891"/>
                <a:gd name="connsiteY15" fmla="*/ 534016 h 1015890"/>
                <a:gd name="connsiteX16" fmla="*/ 578546 w 1015891"/>
                <a:gd name="connsiteY16" fmla="*/ 502749 h 1015890"/>
                <a:gd name="connsiteX17" fmla="*/ 621819 w 1015891"/>
                <a:gd name="connsiteY17" fmla="*/ 560894 h 1015890"/>
                <a:gd name="connsiteX18" fmla="*/ 621819 w 1015891"/>
                <a:gd name="connsiteY18" fmla="*/ 698374 h 1015890"/>
                <a:gd name="connsiteX19" fmla="*/ 707245 w 1015891"/>
                <a:gd name="connsiteY19" fmla="*/ 698374 h 1015890"/>
                <a:gd name="connsiteX20" fmla="*/ 707245 w 1015891"/>
                <a:gd name="connsiteY20" fmla="*/ 550994 h 1015890"/>
                <a:gd name="connsiteX21" fmla="*/ 608917 w 1015891"/>
                <a:gd name="connsiteY21" fmla="*/ 435330 h 1015890"/>
                <a:gd name="connsiteX22" fmla="*/ 357028 w 1015891"/>
                <a:gd name="connsiteY22" fmla="*/ 317471 h 1015890"/>
                <a:gd name="connsiteX23" fmla="*/ 308693 w 1015891"/>
                <a:gd name="connsiteY23" fmla="*/ 361864 h 1015890"/>
                <a:gd name="connsiteX24" fmla="*/ 355908 w 1015891"/>
                <a:gd name="connsiteY24" fmla="*/ 406257 h 1015890"/>
                <a:gd name="connsiteX25" fmla="*/ 356446 w 1015891"/>
                <a:gd name="connsiteY25" fmla="*/ 406257 h 1015890"/>
                <a:gd name="connsiteX26" fmla="*/ 404781 w 1015891"/>
                <a:gd name="connsiteY26" fmla="*/ 361864 h 1015890"/>
                <a:gd name="connsiteX27" fmla="*/ 357028 w 1015891"/>
                <a:gd name="connsiteY27" fmla="*/ 317471 h 1015890"/>
                <a:gd name="connsiteX28" fmla="*/ 507946 w 1015891"/>
                <a:gd name="connsiteY28" fmla="*/ 0 h 1015890"/>
                <a:gd name="connsiteX29" fmla="*/ 1015891 w 1015891"/>
                <a:gd name="connsiteY29" fmla="*/ 507945 h 1015890"/>
                <a:gd name="connsiteX30" fmla="*/ 507946 w 1015891"/>
                <a:gd name="connsiteY30" fmla="*/ 1015890 h 1015890"/>
                <a:gd name="connsiteX31" fmla="*/ 0 w 1015891"/>
                <a:gd name="connsiteY31" fmla="*/ 507945 h 1015890"/>
                <a:gd name="connsiteX32" fmla="*/ 507946 w 1015891"/>
                <a:gd name="connsiteY32" fmla="*/ 0 h 1015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1015891" h="1015890">
                  <a:moveTo>
                    <a:pt x="531912" y="478010"/>
                  </a:moveTo>
                  <a:lnTo>
                    <a:pt x="531912" y="478648"/>
                  </a:lnTo>
                  <a:lnTo>
                    <a:pt x="531331" y="478648"/>
                  </a:lnTo>
                  <a:close/>
                  <a:moveTo>
                    <a:pt x="313754" y="441378"/>
                  </a:moveTo>
                  <a:lnTo>
                    <a:pt x="313754" y="698374"/>
                  </a:lnTo>
                  <a:lnTo>
                    <a:pt x="399181" y="698374"/>
                  </a:lnTo>
                  <a:lnTo>
                    <a:pt x="399181" y="441378"/>
                  </a:lnTo>
                  <a:close/>
                  <a:moveTo>
                    <a:pt x="608917" y="435330"/>
                  </a:moveTo>
                  <a:cubicBezTo>
                    <a:pt x="585869" y="435330"/>
                    <a:pt x="569284" y="441770"/>
                    <a:pt x="557054" y="450404"/>
                  </a:cubicBezTo>
                  <a:lnTo>
                    <a:pt x="531912" y="478010"/>
                  </a:lnTo>
                  <a:lnTo>
                    <a:pt x="531912" y="441378"/>
                  </a:lnTo>
                  <a:lnTo>
                    <a:pt x="446486" y="441378"/>
                  </a:lnTo>
                  <a:cubicBezTo>
                    <a:pt x="447561" y="465478"/>
                    <a:pt x="446442" y="698419"/>
                    <a:pt x="446442" y="698374"/>
                  </a:cubicBezTo>
                  <a:lnTo>
                    <a:pt x="531868" y="698374"/>
                  </a:lnTo>
                  <a:lnTo>
                    <a:pt x="531868" y="554847"/>
                  </a:lnTo>
                  <a:cubicBezTo>
                    <a:pt x="531868" y="547186"/>
                    <a:pt x="532450" y="539481"/>
                    <a:pt x="534690" y="534016"/>
                  </a:cubicBezTo>
                  <a:cubicBezTo>
                    <a:pt x="540872" y="518651"/>
                    <a:pt x="554938" y="502749"/>
                    <a:pt x="578546" y="502749"/>
                  </a:cubicBezTo>
                  <a:cubicBezTo>
                    <a:pt x="609455" y="502749"/>
                    <a:pt x="621819" y="526311"/>
                    <a:pt x="621819" y="560894"/>
                  </a:cubicBezTo>
                  <a:lnTo>
                    <a:pt x="621819" y="698374"/>
                  </a:lnTo>
                  <a:lnTo>
                    <a:pt x="707245" y="698374"/>
                  </a:lnTo>
                  <a:lnTo>
                    <a:pt x="707245" y="550994"/>
                  </a:lnTo>
                  <a:cubicBezTo>
                    <a:pt x="707245" y="472063"/>
                    <a:pt x="665092" y="435330"/>
                    <a:pt x="608917" y="435330"/>
                  </a:cubicBezTo>
                  <a:close/>
                  <a:moveTo>
                    <a:pt x="357028" y="317471"/>
                  </a:moveTo>
                  <a:cubicBezTo>
                    <a:pt x="327776" y="317471"/>
                    <a:pt x="308693" y="336644"/>
                    <a:pt x="308693" y="361864"/>
                  </a:cubicBezTo>
                  <a:cubicBezTo>
                    <a:pt x="308693" y="386547"/>
                    <a:pt x="327239" y="406257"/>
                    <a:pt x="355908" y="406257"/>
                  </a:cubicBezTo>
                  <a:lnTo>
                    <a:pt x="356446" y="406257"/>
                  </a:lnTo>
                  <a:cubicBezTo>
                    <a:pt x="386235" y="406257"/>
                    <a:pt x="404781" y="386502"/>
                    <a:pt x="404781" y="361864"/>
                  </a:cubicBezTo>
                  <a:cubicBezTo>
                    <a:pt x="404198" y="336644"/>
                    <a:pt x="386235" y="317471"/>
                    <a:pt x="357028" y="317471"/>
                  </a:cubicBezTo>
                  <a:close/>
                  <a:moveTo>
                    <a:pt x="507946" y="0"/>
                  </a:moveTo>
                  <a:cubicBezTo>
                    <a:pt x="788476" y="0"/>
                    <a:pt x="1015891" y="227415"/>
                    <a:pt x="1015891" y="507945"/>
                  </a:cubicBezTo>
                  <a:cubicBezTo>
                    <a:pt x="1015891" y="788476"/>
                    <a:pt x="788476" y="1015890"/>
                    <a:pt x="507946" y="1015890"/>
                  </a:cubicBezTo>
                  <a:cubicBezTo>
                    <a:pt x="227415" y="1015890"/>
                    <a:pt x="0" y="788476"/>
                    <a:pt x="0" y="507945"/>
                  </a:cubicBezTo>
                  <a:cubicBezTo>
                    <a:pt x="0" y="227415"/>
                    <a:pt x="227415" y="0"/>
                    <a:pt x="507946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448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/>
            </a:p>
          </p:txBody>
        </p:sp>
        <p:sp>
          <p:nvSpPr>
            <p:cNvPr id="46" name="LOGO - Facebook">
              <a:extLst>
                <a:ext uri="{FF2B5EF4-FFF2-40B4-BE49-F238E27FC236}">
                  <a16:creationId xmlns:a16="http://schemas.microsoft.com/office/drawing/2014/main" id="{6A5CF9BC-8527-466C-B487-F3F05F9E2E68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5256900" y="4942311"/>
              <a:ext cx="360000" cy="360000"/>
            </a:xfrm>
            <a:custGeom>
              <a:avLst/>
              <a:gdLst>
                <a:gd name="connsiteX0" fmla="*/ 569988 w 1015890"/>
                <a:gd name="connsiteY0" fmla="*/ 253995 h 1015890"/>
                <a:gd name="connsiteX1" fmla="*/ 453876 w 1015890"/>
                <a:gd name="connsiteY1" fmla="*/ 373332 h 1015890"/>
                <a:gd name="connsiteX2" fmla="*/ 453876 w 1015890"/>
                <a:gd name="connsiteY2" fmla="*/ 439944 h 1015890"/>
                <a:gd name="connsiteX3" fmla="*/ 376154 w 1015890"/>
                <a:gd name="connsiteY3" fmla="*/ 439944 h 1015890"/>
                <a:gd name="connsiteX4" fmla="*/ 376154 w 1015890"/>
                <a:gd name="connsiteY4" fmla="*/ 530523 h 1015890"/>
                <a:gd name="connsiteX5" fmla="*/ 453876 w 1015890"/>
                <a:gd name="connsiteY5" fmla="*/ 530523 h 1015890"/>
                <a:gd name="connsiteX6" fmla="*/ 453876 w 1015890"/>
                <a:gd name="connsiteY6" fmla="*/ 761895 h 1015890"/>
                <a:gd name="connsiteX7" fmla="*/ 453876 w 1015890"/>
                <a:gd name="connsiteY7" fmla="*/ 761985 h 1015890"/>
                <a:gd name="connsiteX8" fmla="*/ 547321 w 1015890"/>
                <a:gd name="connsiteY8" fmla="*/ 761985 h 1015890"/>
                <a:gd name="connsiteX9" fmla="*/ 547321 w 1015890"/>
                <a:gd name="connsiteY9" fmla="*/ 530612 h 1015890"/>
                <a:gd name="connsiteX10" fmla="*/ 625311 w 1015890"/>
                <a:gd name="connsiteY10" fmla="*/ 530612 h 1015890"/>
                <a:gd name="connsiteX11" fmla="*/ 637003 w 1015890"/>
                <a:gd name="connsiteY11" fmla="*/ 440034 h 1015890"/>
                <a:gd name="connsiteX12" fmla="*/ 547321 w 1015890"/>
                <a:gd name="connsiteY12" fmla="*/ 440034 h 1015890"/>
                <a:gd name="connsiteX13" fmla="*/ 547321 w 1015890"/>
                <a:gd name="connsiteY13" fmla="*/ 382336 h 1015890"/>
                <a:gd name="connsiteX14" fmla="*/ 592117 w 1015890"/>
                <a:gd name="connsiteY14" fmla="*/ 338346 h 1015890"/>
                <a:gd name="connsiteX15" fmla="*/ 639646 w 1015890"/>
                <a:gd name="connsiteY15" fmla="*/ 338302 h 1015890"/>
                <a:gd name="connsiteX16" fmla="*/ 639646 w 1015890"/>
                <a:gd name="connsiteY16" fmla="*/ 257534 h 1015890"/>
                <a:gd name="connsiteX17" fmla="*/ 569988 w 1015890"/>
                <a:gd name="connsiteY17" fmla="*/ 253995 h 1015890"/>
                <a:gd name="connsiteX18" fmla="*/ 507945 w 1015890"/>
                <a:gd name="connsiteY18" fmla="*/ 0 h 1015890"/>
                <a:gd name="connsiteX19" fmla="*/ 1015890 w 1015890"/>
                <a:gd name="connsiteY19" fmla="*/ 507945 h 1015890"/>
                <a:gd name="connsiteX20" fmla="*/ 507945 w 1015890"/>
                <a:gd name="connsiteY20" fmla="*/ 1015890 h 1015890"/>
                <a:gd name="connsiteX21" fmla="*/ 0 w 1015890"/>
                <a:gd name="connsiteY21" fmla="*/ 507945 h 1015890"/>
                <a:gd name="connsiteX22" fmla="*/ 507945 w 1015890"/>
                <a:gd name="connsiteY22" fmla="*/ 0 h 1015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015890" h="1015890">
                  <a:moveTo>
                    <a:pt x="569988" y="253995"/>
                  </a:moveTo>
                  <a:cubicBezTo>
                    <a:pt x="501091" y="253995"/>
                    <a:pt x="453876" y="296059"/>
                    <a:pt x="453876" y="373332"/>
                  </a:cubicBezTo>
                  <a:lnTo>
                    <a:pt x="453876" y="439944"/>
                  </a:lnTo>
                  <a:lnTo>
                    <a:pt x="376154" y="439944"/>
                  </a:lnTo>
                  <a:lnTo>
                    <a:pt x="376154" y="530523"/>
                  </a:lnTo>
                  <a:lnTo>
                    <a:pt x="453876" y="530523"/>
                  </a:lnTo>
                  <a:lnTo>
                    <a:pt x="453876" y="761895"/>
                  </a:lnTo>
                  <a:lnTo>
                    <a:pt x="453876" y="761985"/>
                  </a:lnTo>
                  <a:lnTo>
                    <a:pt x="547321" y="761985"/>
                  </a:lnTo>
                  <a:lnTo>
                    <a:pt x="547321" y="530612"/>
                  </a:lnTo>
                  <a:lnTo>
                    <a:pt x="625311" y="530612"/>
                  </a:lnTo>
                  <a:lnTo>
                    <a:pt x="637003" y="440034"/>
                  </a:lnTo>
                  <a:lnTo>
                    <a:pt x="547321" y="440034"/>
                  </a:lnTo>
                  <a:lnTo>
                    <a:pt x="547321" y="382336"/>
                  </a:lnTo>
                  <a:cubicBezTo>
                    <a:pt x="547321" y="356175"/>
                    <a:pt x="554622" y="338346"/>
                    <a:pt x="592117" y="338346"/>
                  </a:cubicBezTo>
                  <a:lnTo>
                    <a:pt x="639646" y="338302"/>
                  </a:lnTo>
                  <a:lnTo>
                    <a:pt x="639646" y="257534"/>
                  </a:lnTo>
                  <a:cubicBezTo>
                    <a:pt x="631403" y="256459"/>
                    <a:pt x="603002" y="253995"/>
                    <a:pt x="569988" y="253995"/>
                  </a:cubicBezTo>
                  <a:close/>
                  <a:moveTo>
                    <a:pt x="507945" y="0"/>
                  </a:moveTo>
                  <a:cubicBezTo>
                    <a:pt x="788475" y="0"/>
                    <a:pt x="1015890" y="227415"/>
                    <a:pt x="1015890" y="507945"/>
                  </a:cubicBezTo>
                  <a:cubicBezTo>
                    <a:pt x="1015890" y="788476"/>
                    <a:pt x="788475" y="1015890"/>
                    <a:pt x="507945" y="1015890"/>
                  </a:cubicBezTo>
                  <a:cubicBezTo>
                    <a:pt x="227415" y="1015890"/>
                    <a:pt x="0" y="788476"/>
                    <a:pt x="0" y="507945"/>
                  </a:cubicBezTo>
                  <a:cubicBezTo>
                    <a:pt x="0" y="227415"/>
                    <a:pt x="227415" y="0"/>
                    <a:pt x="507945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448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/>
            </a:p>
          </p:txBody>
        </p:sp>
        <p:sp>
          <p:nvSpPr>
            <p:cNvPr id="47" name="LOGO - Twitter">
              <a:extLst>
                <a:ext uri="{FF2B5EF4-FFF2-40B4-BE49-F238E27FC236}">
                  <a16:creationId xmlns:a16="http://schemas.microsoft.com/office/drawing/2014/main" id="{FB49C7E8-494F-4E32-9BFE-796695EC059D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4600800" y="4942311"/>
              <a:ext cx="360000" cy="360000"/>
            </a:xfrm>
            <a:custGeom>
              <a:avLst/>
              <a:gdLst>
                <a:gd name="connsiteX0" fmla="*/ 636959 w 1015890"/>
                <a:gd name="connsiteY0" fmla="*/ 308064 h 1015890"/>
                <a:gd name="connsiteX1" fmla="*/ 515561 w 1015890"/>
                <a:gd name="connsiteY1" fmla="*/ 429462 h 1015890"/>
                <a:gd name="connsiteX2" fmla="*/ 518741 w 1015890"/>
                <a:gd name="connsiteY2" fmla="*/ 457146 h 1015890"/>
                <a:gd name="connsiteX3" fmla="*/ 268509 w 1015890"/>
                <a:gd name="connsiteY3" fmla="*/ 330283 h 1015890"/>
                <a:gd name="connsiteX4" fmla="*/ 252069 w 1015890"/>
                <a:gd name="connsiteY4" fmla="*/ 391340 h 1015890"/>
                <a:gd name="connsiteX5" fmla="*/ 306093 w 1015890"/>
                <a:gd name="connsiteY5" fmla="*/ 492401 h 1015890"/>
                <a:gd name="connsiteX6" fmla="*/ 251128 w 1015890"/>
                <a:gd name="connsiteY6" fmla="*/ 477215 h 1015890"/>
                <a:gd name="connsiteX7" fmla="*/ 251128 w 1015890"/>
                <a:gd name="connsiteY7" fmla="*/ 478738 h 1015890"/>
                <a:gd name="connsiteX8" fmla="*/ 348515 w 1015890"/>
                <a:gd name="connsiteY8" fmla="*/ 597762 h 1015890"/>
                <a:gd name="connsiteX9" fmla="*/ 316531 w 1015890"/>
                <a:gd name="connsiteY9" fmla="*/ 602017 h 1015890"/>
                <a:gd name="connsiteX10" fmla="*/ 293685 w 1015890"/>
                <a:gd name="connsiteY10" fmla="*/ 599867 h 1015890"/>
                <a:gd name="connsiteX11" fmla="*/ 407109 w 1015890"/>
                <a:gd name="connsiteY11" fmla="*/ 684174 h 1015890"/>
                <a:gd name="connsiteX12" fmla="*/ 256324 w 1015890"/>
                <a:gd name="connsiteY12" fmla="*/ 736137 h 1015890"/>
                <a:gd name="connsiteX13" fmla="*/ 227386 w 1015890"/>
                <a:gd name="connsiteY13" fmla="*/ 734435 h 1015890"/>
                <a:gd name="connsiteX14" fmla="*/ 413470 w 1015890"/>
                <a:gd name="connsiteY14" fmla="*/ 788997 h 1015890"/>
                <a:gd name="connsiteX15" fmla="*/ 758894 w 1015890"/>
                <a:gd name="connsiteY15" fmla="*/ 443528 h 1015890"/>
                <a:gd name="connsiteX16" fmla="*/ 758536 w 1015890"/>
                <a:gd name="connsiteY16" fmla="*/ 427849 h 1015890"/>
                <a:gd name="connsiteX17" fmla="*/ 819055 w 1015890"/>
                <a:gd name="connsiteY17" fmla="*/ 365045 h 1015890"/>
                <a:gd name="connsiteX18" fmla="*/ 749308 w 1015890"/>
                <a:gd name="connsiteY18" fmla="*/ 384128 h 1015890"/>
                <a:gd name="connsiteX19" fmla="*/ 802705 w 1015890"/>
                <a:gd name="connsiteY19" fmla="*/ 316978 h 1015890"/>
                <a:gd name="connsiteX20" fmla="*/ 725610 w 1015890"/>
                <a:gd name="connsiteY20" fmla="*/ 346410 h 1015890"/>
                <a:gd name="connsiteX21" fmla="*/ 636959 w 1015890"/>
                <a:gd name="connsiteY21" fmla="*/ 308064 h 1015890"/>
                <a:gd name="connsiteX22" fmla="*/ 507945 w 1015890"/>
                <a:gd name="connsiteY22" fmla="*/ 0 h 1015890"/>
                <a:gd name="connsiteX23" fmla="*/ 1015890 w 1015890"/>
                <a:gd name="connsiteY23" fmla="*/ 507945 h 1015890"/>
                <a:gd name="connsiteX24" fmla="*/ 507945 w 1015890"/>
                <a:gd name="connsiteY24" fmla="*/ 1015890 h 1015890"/>
                <a:gd name="connsiteX25" fmla="*/ 0 w 1015890"/>
                <a:gd name="connsiteY25" fmla="*/ 507945 h 1015890"/>
                <a:gd name="connsiteX26" fmla="*/ 507945 w 1015890"/>
                <a:gd name="connsiteY26" fmla="*/ 0 h 1015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015890" h="1015890">
                  <a:moveTo>
                    <a:pt x="636959" y="308064"/>
                  </a:moveTo>
                  <a:cubicBezTo>
                    <a:pt x="569898" y="308064"/>
                    <a:pt x="515561" y="362447"/>
                    <a:pt x="515561" y="429462"/>
                  </a:cubicBezTo>
                  <a:cubicBezTo>
                    <a:pt x="515561" y="438959"/>
                    <a:pt x="516636" y="448232"/>
                    <a:pt x="518741" y="457146"/>
                  </a:cubicBezTo>
                  <a:cubicBezTo>
                    <a:pt x="417860" y="452084"/>
                    <a:pt x="328357" y="403749"/>
                    <a:pt x="268509" y="330283"/>
                  </a:cubicBezTo>
                  <a:cubicBezTo>
                    <a:pt x="258071" y="348201"/>
                    <a:pt x="252069" y="369077"/>
                    <a:pt x="252069" y="391340"/>
                  </a:cubicBezTo>
                  <a:cubicBezTo>
                    <a:pt x="252069" y="433449"/>
                    <a:pt x="273526" y="470630"/>
                    <a:pt x="306093" y="492401"/>
                  </a:cubicBezTo>
                  <a:cubicBezTo>
                    <a:pt x="286204" y="491774"/>
                    <a:pt x="267479" y="486308"/>
                    <a:pt x="251128" y="477215"/>
                  </a:cubicBezTo>
                  <a:cubicBezTo>
                    <a:pt x="251128" y="477752"/>
                    <a:pt x="251128" y="478245"/>
                    <a:pt x="251128" y="478738"/>
                  </a:cubicBezTo>
                  <a:cubicBezTo>
                    <a:pt x="251128" y="537555"/>
                    <a:pt x="293013" y="586607"/>
                    <a:pt x="348515" y="597762"/>
                  </a:cubicBezTo>
                  <a:cubicBezTo>
                    <a:pt x="338346" y="600539"/>
                    <a:pt x="327595" y="602017"/>
                    <a:pt x="316531" y="602017"/>
                  </a:cubicBezTo>
                  <a:cubicBezTo>
                    <a:pt x="308691" y="602017"/>
                    <a:pt x="301076" y="601256"/>
                    <a:pt x="293685" y="599867"/>
                  </a:cubicBezTo>
                  <a:cubicBezTo>
                    <a:pt x="309139" y="648068"/>
                    <a:pt x="353980" y="683188"/>
                    <a:pt x="407109" y="684174"/>
                  </a:cubicBezTo>
                  <a:cubicBezTo>
                    <a:pt x="365538" y="716741"/>
                    <a:pt x="313216" y="736137"/>
                    <a:pt x="256324" y="736137"/>
                  </a:cubicBezTo>
                  <a:cubicBezTo>
                    <a:pt x="246559" y="736137"/>
                    <a:pt x="236838" y="735555"/>
                    <a:pt x="227386" y="734435"/>
                  </a:cubicBezTo>
                  <a:cubicBezTo>
                    <a:pt x="281097" y="768884"/>
                    <a:pt x="344932" y="788997"/>
                    <a:pt x="413470" y="788997"/>
                  </a:cubicBezTo>
                  <a:cubicBezTo>
                    <a:pt x="636779" y="788997"/>
                    <a:pt x="758894" y="603988"/>
                    <a:pt x="758894" y="443528"/>
                  </a:cubicBezTo>
                  <a:cubicBezTo>
                    <a:pt x="758894" y="438287"/>
                    <a:pt x="758760" y="433046"/>
                    <a:pt x="758536" y="427849"/>
                  </a:cubicBezTo>
                  <a:cubicBezTo>
                    <a:pt x="782188" y="410737"/>
                    <a:pt x="802794" y="389369"/>
                    <a:pt x="819055" y="365045"/>
                  </a:cubicBezTo>
                  <a:cubicBezTo>
                    <a:pt x="797284" y="374676"/>
                    <a:pt x="773856" y="381216"/>
                    <a:pt x="749308" y="384128"/>
                  </a:cubicBezTo>
                  <a:cubicBezTo>
                    <a:pt x="774394" y="369121"/>
                    <a:pt x="793611" y="345335"/>
                    <a:pt x="802705" y="316978"/>
                  </a:cubicBezTo>
                  <a:cubicBezTo>
                    <a:pt x="779232" y="330910"/>
                    <a:pt x="753250" y="340989"/>
                    <a:pt x="725610" y="346410"/>
                  </a:cubicBezTo>
                  <a:cubicBezTo>
                    <a:pt x="703481" y="322802"/>
                    <a:pt x="671900" y="308064"/>
                    <a:pt x="636959" y="308064"/>
                  </a:cubicBezTo>
                  <a:close/>
                  <a:moveTo>
                    <a:pt x="507945" y="0"/>
                  </a:moveTo>
                  <a:cubicBezTo>
                    <a:pt x="788476" y="0"/>
                    <a:pt x="1015890" y="227415"/>
                    <a:pt x="1015890" y="507945"/>
                  </a:cubicBezTo>
                  <a:cubicBezTo>
                    <a:pt x="1015890" y="788476"/>
                    <a:pt x="788475" y="1015890"/>
                    <a:pt x="507945" y="1015890"/>
                  </a:cubicBezTo>
                  <a:cubicBezTo>
                    <a:pt x="227415" y="1015890"/>
                    <a:pt x="0" y="788476"/>
                    <a:pt x="0" y="507945"/>
                  </a:cubicBezTo>
                  <a:cubicBezTo>
                    <a:pt x="0" y="227415"/>
                    <a:pt x="227415" y="0"/>
                    <a:pt x="507945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448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/>
            </a:p>
          </p:txBody>
        </p:sp>
      </p:grpSp>
      <p:sp>
        <p:nvSpPr>
          <p:cNvPr id="10" name="Inhalt 1">
            <a:extLst>
              <a:ext uri="{FF2B5EF4-FFF2-40B4-BE49-F238E27FC236}">
                <a16:creationId xmlns:a16="http://schemas.microsoft.com/office/drawing/2014/main" id="{41491EAA-9425-45A0-9900-C1AB9399B9A9}"/>
              </a:ext>
            </a:extLst>
          </p:cNvPr>
          <p:cNvSpPr>
            <a:spLocks noGrp="1"/>
          </p:cNvSpPr>
          <p:nvPr userDrawn="1">
            <p:ph type="body" sz="quarter" idx="21" hasCustomPrompt="1"/>
          </p:nvPr>
        </p:nvSpPr>
        <p:spPr bwMode="gray">
          <a:xfrm>
            <a:off x="4600800" y="3429006"/>
            <a:ext cx="2984400" cy="2780992"/>
          </a:xfrm>
          <a:noFill/>
        </p:spPr>
        <p:txBody>
          <a:bodyPr lIns="0" tIns="216000" rIns="0" bIns="0" anchor="t" anchorCtr="0"/>
          <a:lstStyle>
            <a:lvl1pPr marL="0" indent="0">
              <a:buNone/>
              <a:defRPr sz="16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/>
              <a:t>Mastertextformat </a:t>
            </a:r>
            <a:br>
              <a:rPr lang="de-DE"/>
            </a:br>
            <a:r>
              <a:rPr lang="de-DE"/>
              <a:t>bearbeiten</a:t>
            </a:r>
          </a:p>
        </p:txBody>
      </p:sp>
      <p:cxnSp>
        <p:nvCxnSpPr>
          <p:cNvPr id="7" name="Gerader Verbinder 1">
            <a:extLst>
              <a:ext uri="{FF2B5EF4-FFF2-40B4-BE49-F238E27FC236}">
                <a16:creationId xmlns:a16="http://schemas.microsoft.com/office/drawing/2014/main" id="{2563D56A-A583-4545-B731-CC8694B01378}"/>
              </a:ext>
            </a:extLst>
          </p:cNvPr>
          <p:cNvCxnSpPr/>
          <p:nvPr userDrawn="1"/>
        </p:nvCxnSpPr>
        <p:spPr bwMode="gray">
          <a:xfrm>
            <a:off x="4604400" y="3428998"/>
            <a:ext cx="720000" cy="0"/>
          </a:xfrm>
          <a:prstGeom prst="line">
            <a:avLst/>
          </a:prstGeom>
          <a:ln w="19050" cap="flat">
            <a:solidFill>
              <a:schemeClr val="accent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platzhalter 1">
            <a:extLst>
              <a:ext uri="{FF2B5EF4-FFF2-40B4-BE49-F238E27FC236}">
                <a16:creationId xmlns:a16="http://schemas.microsoft.com/office/drawing/2014/main" id="{518310DF-252A-4FFA-B45C-EB6718183D35}"/>
              </a:ext>
            </a:extLst>
          </p:cNvPr>
          <p:cNvSpPr>
            <a:spLocks noGrp="1"/>
          </p:cNvSpPr>
          <p:nvPr userDrawn="1">
            <p:ph type="body" sz="quarter" idx="19" hasCustomPrompt="1"/>
          </p:nvPr>
        </p:nvSpPr>
        <p:spPr bwMode="gray">
          <a:xfrm>
            <a:off x="4600800" y="1511998"/>
            <a:ext cx="2984400" cy="1916995"/>
          </a:xfrm>
          <a:noFill/>
        </p:spPr>
        <p:txBody>
          <a:bodyPr lIns="0" rIns="0" bIns="216000" anchor="b" anchorCtr="0"/>
          <a:lstStyle>
            <a:lvl1pPr marL="0" indent="0">
              <a:buNone/>
              <a:defRPr sz="2000" b="1">
                <a:solidFill>
                  <a:schemeClr val="accent1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/>
              <a:t>Mastertextformat </a:t>
            </a:r>
            <a:br>
              <a:rPr lang="de-DE"/>
            </a:br>
            <a:r>
              <a:rPr lang="de-DE"/>
              <a:t>bearbeiten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CA4CA5FE-4CD4-4613-93D2-A1B9B92111FB}"/>
              </a:ext>
            </a:extLst>
          </p:cNvPr>
          <p:cNvSpPr>
            <a:spLocks noGrp="1"/>
          </p:cNvSpPr>
          <p:nvPr userDrawn="1">
            <p:ph type="title"/>
          </p:nvPr>
        </p:nvSpPr>
        <p:spPr bwMode="gray">
          <a:xfrm>
            <a:off x="4599404" y="432000"/>
            <a:ext cx="7050195" cy="792000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468482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2">
            <a:extLst>
              <a:ext uri="{FF2B5EF4-FFF2-40B4-BE49-F238E27FC236}">
                <a16:creationId xmlns:a16="http://schemas.microsoft.com/office/drawing/2014/main" id="{A396F3DE-062E-4905-BAD7-7BA8958C57AC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 bwMode="gray">
          <a:xfrm>
            <a:off x="0" y="0"/>
            <a:ext cx="4063006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Layer">
            <a:extLst>
              <a:ext uri="{FF2B5EF4-FFF2-40B4-BE49-F238E27FC236}">
                <a16:creationId xmlns:a16="http://schemas.microsoft.com/office/drawing/2014/main" id="{9B2AD54C-B27F-413B-B1B2-39F33AA68007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 bwMode="gray">
          <a:xfrm>
            <a:off x="1" y="0"/>
            <a:ext cx="4064400" cy="6858000"/>
          </a:xfrm>
          <a:gradFill flip="none" rotWithShape="1">
            <a:gsLst>
              <a:gs pos="80000">
                <a:schemeClr val="accent1">
                  <a:alpha val="80000"/>
                </a:schemeClr>
              </a:gs>
              <a:gs pos="5000">
                <a:schemeClr val="tx2">
                  <a:alpha val="80000"/>
                </a:schemeClr>
              </a:gs>
            </a:gsLst>
            <a:lin ang="2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de-DE" b="1" cap="none" baseline="0" dirty="0"/>
            </a:lvl1pPr>
          </a:lstStyle>
          <a:p>
            <a:pPr marL="270000" lvl="0" indent="-270000" algn="ctr">
              <a:buClr>
                <a:schemeClr val="accent1"/>
              </a:buClr>
            </a:pPr>
            <a:r>
              <a:rPr lang="de-DE"/>
              <a:t> </a:t>
            </a:r>
          </a:p>
        </p:txBody>
      </p:sp>
      <p:sp>
        <p:nvSpPr>
          <p:cNvPr id="3" name="Fußzeilenplatzhalter">
            <a:extLst>
              <a:ext uri="{FF2B5EF4-FFF2-40B4-BE49-F238E27FC236}">
                <a16:creationId xmlns:a16="http://schemas.microsoft.com/office/drawing/2014/main" id="{C292E9C2-6394-4860-8093-68FDE25BBC24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© Heinz Nixdorf Institut / Fraunhofer IEM</a:t>
            </a:r>
          </a:p>
        </p:txBody>
      </p:sp>
      <p:sp>
        <p:nvSpPr>
          <p:cNvPr id="15" name="Strich">
            <a:extLst>
              <a:ext uri="{FF2B5EF4-FFF2-40B4-BE49-F238E27FC236}">
                <a16:creationId xmlns:a16="http://schemas.microsoft.com/office/drawing/2014/main" id="{F3E9DC9B-F207-4CD3-B232-B01C213A90F0}"/>
              </a:ext>
            </a:extLst>
          </p:cNvPr>
          <p:cNvSpPr>
            <a:spLocks noGrp="1"/>
          </p:cNvSpPr>
          <p:nvPr>
            <p:ph sz="quarter" idx="38" hasCustomPrompt="1"/>
          </p:nvPr>
        </p:nvSpPr>
        <p:spPr bwMode="gray">
          <a:xfrm>
            <a:off x="941337" y="6426000"/>
            <a:ext cx="10800" cy="21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  <a:lvl2pPr marL="266700" indent="0">
              <a:buNone/>
              <a:defRPr/>
            </a:lvl2pPr>
            <a:lvl3pPr marL="542925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5" name="Foliennummernplatzhalter">
            <a:extLst>
              <a:ext uri="{FF2B5EF4-FFF2-40B4-BE49-F238E27FC236}">
                <a16:creationId xmlns:a16="http://schemas.microsoft.com/office/drawing/2014/main" id="{D92BD991-0AA4-4980-B3F8-B7A971DD3833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5685BD5-7F70-499C-8F04-1460C72EE5D6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9" name="Social Media">
            <a:extLst>
              <a:ext uri="{FF2B5EF4-FFF2-40B4-BE49-F238E27FC236}">
                <a16:creationId xmlns:a16="http://schemas.microsoft.com/office/drawing/2014/main" id="{737187D4-FABB-4918-9232-2108FFD6BB91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8665199" y="3420000"/>
            <a:ext cx="288001" cy="2069993"/>
            <a:chOff x="8665199" y="3420000"/>
            <a:chExt cx="288001" cy="2069993"/>
          </a:xfrm>
        </p:grpSpPr>
        <p:sp>
          <p:nvSpPr>
            <p:cNvPr id="20" name="LOGO - YouTube">
              <a:extLst>
                <a:ext uri="{FF2B5EF4-FFF2-40B4-BE49-F238E27FC236}">
                  <a16:creationId xmlns:a16="http://schemas.microsoft.com/office/drawing/2014/main" id="{9AA15CD9-9ABF-4BEC-9A7D-D49F445AA462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8665199" y="5201993"/>
              <a:ext cx="288000" cy="288000"/>
            </a:xfrm>
            <a:custGeom>
              <a:avLst/>
              <a:gdLst>
                <a:gd name="connsiteX0" fmla="*/ 452129 w 1015890"/>
                <a:gd name="connsiteY0" fmla="*/ 430761 h 1015890"/>
                <a:gd name="connsiteX1" fmla="*/ 594895 w 1015890"/>
                <a:gd name="connsiteY1" fmla="*/ 505257 h 1015890"/>
                <a:gd name="connsiteX2" fmla="*/ 452129 w 1015890"/>
                <a:gd name="connsiteY2" fmla="*/ 583382 h 1015890"/>
                <a:gd name="connsiteX3" fmla="*/ 507811 w 1015890"/>
                <a:gd name="connsiteY3" fmla="*/ 317426 h 1015890"/>
                <a:gd name="connsiteX4" fmla="*/ 507990 w 1015890"/>
                <a:gd name="connsiteY4" fmla="*/ 317428 h 1015890"/>
                <a:gd name="connsiteX5" fmla="*/ 447683 w 1015890"/>
                <a:gd name="connsiteY5" fmla="*/ 318075 h 1015890"/>
                <a:gd name="connsiteX6" fmla="*/ 312275 w 1015890"/>
                <a:gd name="connsiteY6" fmla="*/ 324280 h 1015890"/>
                <a:gd name="connsiteX7" fmla="*/ 247500 w 1015890"/>
                <a:gd name="connsiteY7" fmla="*/ 386726 h 1015890"/>
                <a:gd name="connsiteX8" fmla="*/ 239302 w 1015890"/>
                <a:gd name="connsiteY8" fmla="*/ 504764 h 1015890"/>
                <a:gd name="connsiteX9" fmla="*/ 239302 w 1015890"/>
                <a:gd name="connsiteY9" fmla="*/ 511080 h 1015890"/>
                <a:gd name="connsiteX10" fmla="*/ 247500 w 1015890"/>
                <a:gd name="connsiteY10" fmla="*/ 629119 h 1015890"/>
                <a:gd name="connsiteX11" fmla="*/ 312275 w 1015890"/>
                <a:gd name="connsiteY11" fmla="*/ 691565 h 1015890"/>
                <a:gd name="connsiteX12" fmla="*/ 447658 w 1015890"/>
                <a:gd name="connsiteY12" fmla="*/ 697770 h 1015890"/>
                <a:gd name="connsiteX13" fmla="*/ 507990 w 1015890"/>
                <a:gd name="connsiteY13" fmla="*/ 698417 h 1015890"/>
                <a:gd name="connsiteX14" fmla="*/ 507811 w 1015890"/>
                <a:gd name="connsiteY14" fmla="*/ 698419 h 1015890"/>
                <a:gd name="connsiteX15" fmla="*/ 508169 w 1015890"/>
                <a:gd name="connsiteY15" fmla="*/ 698419 h 1015890"/>
                <a:gd name="connsiteX16" fmla="*/ 507990 w 1015890"/>
                <a:gd name="connsiteY16" fmla="*/ 698417 h 1015890"/>
                <a:gd name="connsiteX17" fmla="*/ 568297 w 1015890"/>
                <a:gd name="connsiteY17" fmla="*/ 697770 h 1015890"/>
                <a:gd name="connsiteX18" fmla="*/ 703661 w 1015890"/>
                <a:gd name="connsiteY18" fmla="*/ 691565 h 1015890"/>
                <a:gd name="connsiteX19" fmla="*/ 768436 w 1015890"/>
                <a:gd name="connsiteY19" fmla="*/ 629119 h 1015890"/>
                <a:gd name="connsiteX20" fmla="*/ 776633 w 1015890"/>
                <a:gd name="connsiteY20" fmla="*/ 511080 h 1015890"/>
                <a:gd name="connsiteX21" fmla="*/ 776633 w 1015890"/>
                <a:gd name="connsiteY21" fmla="*/ 504764 h 1015890"/>
                <a:gd name="connsiteX22" fmla="*/ 768436 w 1015890"/>
                <a:gd name="connsiteY22" fmla="*/ 386726 h 1015890"/>
                <a:gd name="connsiteX23" fmla="*/ 703661 w 1015890"/>
                <a:gd name="connsiteY23" fmla="*/ 324280 h 1015890"/>
                <a:gd name="connsiteX24" fmla="*/ 568297 w 1015890"/>
                <a:gd name="connsiteY24" fmla="*/ 318075 h 1015890"/>
                <a:gd name="connsiteX25" fmla="*/ 507990 w 1015890"/>
                <a:gd name="connsiteY25" fmla="*/ 317428 h 1015890"/>
                <a:gd name="connsiteX26" fmla="*/ 508169 w 1015890"/>
                <a:gd name="connsiteY26" fmla="*/ 317426 h 1015890"/>
                <a:gd name="connsiteX27" fmla="*/ 507945 w 1015890"/>
                <a:gd name="connsiteY27" fmla="*/ 0 h 1015890"/>
                <a:gd name="connsiteX28" fmla="*/ 1015890 w 1015890"/>
                <a:gd name="connsiteY28" fmla="*/ 507945 h 1015890"/>
                <a:gd name="connsiteX29" fmla="*/ 507945 w 1015890"/>
                <a:gd name="connsiteY29" fmla="*/ 1015890 h 1015890"/>
                <a:gd name="connsiteX30" fmla="*/ 0 w 1015890"/>
                <a:gd name="connsiteY30" fmla="*/ 507945 h 1015890"/>
                <a:gd name="connsiteX31" fmla="*/ 507945 w 1015890"/>
                <a:gd name="connsiteY31" fmla="*/ 0 h 1015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015890" h="1015890">
                  <a:moveTo>
                    <a:pt x="452129" y="430761"/>
                  </a:moveTo>
                  <a:lnTo>
                    <a:pt x="594895" y="505257"/>
                  </a:lnTo>
                  <a:lnTo>
                    <a:pt x="452129" y="583382"/>
                  </a:lnTo>
                  <a:close/>
                  <a:moveTo>
                    <a:pt x="507811" y="317426"/>
                  </a:moveTo>
                  <a:lnTo>
                    <a:pt x="507990" y="317428"/>
                  </a:lnTo>
                  <a:lnTo>
                    <a:pt x="447683" y="318075"/>
                  </a:lnTo>
                  <a:cubicBezTo>
                    <a:pt x="386458" y="319299"/>
                    <a:pt x="327596" y="322029"/>
                    <a:pt x="312275" y="324280"/>
                  </a:cubicBezTo>
                  <a:cubicBezTo>
                    <a:pt x="276931" y="329969"/>
                    <a:pt x="257714" y="345782"/>
                    <a:pt x="247500" y="386726"/>
                  </a:cubicBezTo>
                  <a:cubicBezTo>
                    <a:pt x="244051" y="400523"/>
                    <a:pt x="239302" y="475960"/>
                    <a:pt x="239302" y="504764"/>
                  </a:cubicBezTo>
                  <a:lnTo>
                    <a:pt x="239302" y="511080"/>
                  </a:lnTo>
                  <a:cubicBezTo>
                    <a:pt x="239302" y="539884"/>
                    <a:pt x="244051" y="615321"/>
                    <a:pt x="247500" y="629119"/>
                  </a:cubicBezTo>
                  <a:cubicBezTo>
                    <a:pt x="257714" y="670062"/>
                    <a:pt x="276931" y="685876"/>
                    <a:pt x="312275" y="691565"/>
                  </a:cubicBezTo>
                  <a:cubicBezTo>
                    <a:pt x="327563" y="693816"/>
                    <a:pt x="386417" y="696546"/>
                    <a:pt x="447658" y="697770"/>
                  </a:cubicBezTo>
                  <a:lnTo>
                    <a:pt x="507990" y="698417"/>
                  </a:lnTo>
                  <a:lnTo>
                    <a:pt x="507811" y="698419"/>
                  </a:lnTo>
                  <a:lnTo>
                    <a:pt x="508169" y="698419"/>
                  </a:lnTo>
                  <a:lnTo>
                    <a:pt x="507990" y="698417"/>
                  </a:lnTo>
                  <a:lnTo>
                    <a:pt x="568297" y="697770"/>
                  </a:lnTo>
                  <a:cubicBezTo>
                    <a:pt x="629520" y="696546"/>
                    <a:pt x="688374" y="693816"/>
                    <a:pt x="703661" y="691565"/>
                  </a:cubicBezTo>
                  <a:cubicBezTo>
                    <a:pt x="739005" y="685876"/>
                    <a:pt x="758222" y="670062"/>
                    <a:pt x="768436" y="629119"/>
                  </a:cubicBezTo>
                  <a:cubicBezTo>
                    <a:pt x="771885" y="615321"/>
                    <a:pt x="776633" y="539884"/>
                    <a:pt x="776633" y="511080"/>
                  </a:cubicBezTo>
                  <a:lnTo>
                    <a:pt x="776633" y="504764"/>
                  </a:lnTo>
                  <a:cubicBezTo>
                    <a:pt x="776633" y="475960"/>
                    <a:pt x="771885" y="400523"/>
                    <a:pt x="768436" y="386726"/>
                  </a:cubicBezTo>
                  <a:cubicBezTo>
                    <a:pt x="758222" y="345782"/>
                    <a:pt x="739005" y="329969"/>
                    <a:pt x="703661" y="324280"/>
                  </a:cubicBezTo>
                  <a:cubicBezTo>
                    <a:pt x="688374" y="322029"/>
                    <a:pt x="629520" y="319299"/>
                    <a:pt x="568297" y="318075"/>
                  </a:cubicBezTo>
                  <a:lnTo>
                    <a:pt x="507990" y="317428"/>
                  </a:lnTo>
                  <a:lnTo>
                    <a:pt x="508169" y="317426"/>
                  </a:lnTo>
                  <a:close/>
                  <a:moveTo>
                    <a:pt x="507945" y="0"/>
                  </a:moveTo>
                  <a:cubicBezTo>
                    <a:pt x="788475" y="0"/>
                    <a:pt x="1015890" y="227415"/>
                    <a:pt x="1015890" y="507945"/>
                  </a:cubicBezTo>
                  <a:cubicBezTo>
                    <a:pt x="1015890" y="788476"/>
                    <a:pt x="788476" y="1015890"/>
                    <a:pt x="507945" y="1015890"/>
                  </a:cubicBezTo>
                  <a:cubicBezTo>
                    <a:pt x="227415" y="1015890"/>
                    <a:pt x="0" y="788476"/>
                    <a:pt x="0" y="507945"/>
                  </a:cubicBezTo>
                  <a:cubicBezTo>
                    <a:pt x="0" y="227415"/>
                    <a:pt x="227414" y="0"/>
                    <a:pt x="507945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448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/>
            </a:p>
          </p:txBody>
        </p:sp>
        <p:sp>
          <p:nvSpPr>
            <p:cNvPr id="28" name="ICON - Xing">
              <a:extLst>
                <a:ext uri="{FF2B5EF4-FFF2-40B4-BE49-F238E27FC236}">
                  <a16:creationId xmlns:a16="http://schemas.microsoft.com/office/drawing/2014/main" id="{9DF26E22-C34C-41E7-B090-BA8BCD4D7976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8665199" y="4785222"/>
              <a:ext cx="288000" cy="288000"/>
            </a:xfrm>
            <a:custGeom>
              <a:avLst/>
              <a:gdLst>
                <a:gd name="connsiteX0" fmla="*/ 331178 w 1015890"/>
                <a:gd name="connsiteY0" fmla="*/ 354293 h 1015890"/>
                <a:gd name="connsiteX1" fmla="*/ 321188 w 1015890"/>
                <a:gd name="connsiteY1" fmla="*/ 358862 h 1015890"/>
                <a:gd name="connsiteX2" fmla="*/ 321592 w 1015890"/>
                <a:gd name="connsiteY2" fmla="*/ 370106 h 1015890"/>
                <a:gd name="connsiteX3" fmla="*/ 371136 w 1015890"/>
                <a:gd name="connsiteY3" fmla="*/ 455846 h 1015890"/>
                <a:gd name="connsiteX4" fmla="*/ 371136 w 1015890"/>
                <a:gd name="connsiteY4" fmla="*/ 456249 h 1015890"/>
                <a:gd name="connsiteX5" fmla="*/ 293281 w 1015890"/>
                <a:gd name="connsiteY5" fmla="*/ 593595 h 1015890"/>
                <a:gd name="connsiteX6" fmla="*/ 293281 w 1015890"/>
                <a:gd name="connsiteY6" fmla="*/ 604839 h 1015890"/>
                <a:gd name="connsiteX7" fmla="*/ 302866 w 1015890"/>
                <a:gd name="connsiteY7" fmla="*/ 609856 h 1015890"/>
                <a:gd name="connsiteX8" fmla="*/ 376108 w 1015890"/>
                <a:gd name="connsiteY8" fmla="*/ 609856 h 1015890"/>
                <a:gd name="connsiteX9" fmla="*/ 396088 w 1015890"/>
                <a:gd name="connsiteY9" fmla="*/ 595700 h 1015890"/>
                <a:gd name="connsiteX10" fmla="*/ 475154 w 1015890"/>
                <a:gd name="connsiteY10" fmla="*/ 455846 h 1015890"/>
                <a:gd name="connsiteX11" fmla="*/ 424802 w 1015890"/>
                <a:gd name="connsiteY11" fmla="*/ 368045 h 1015890"/>
                <a:gd name="connsiteX12" fmla="*/ 404420 w 1015890"/>
                <a:gd name="connsiteY12" fmla="*/ 354293 h 1015890"/>
                <a:gd name="connsiteX13" fmla="*/ 638929 w 1015890"/>
                <a:gd name="connsiteY13" fmla="*/ 253950 h 1015890"/>
                <a:gd name="connsiteX14" fmla="*/ 619308 w 1015890"/>
                <a:gd name="connsiteY14" fmla="*/ 267882 h 1015890"/>
                <a:gd name="connsiteX15" fmla="*/ 456294 w 1015890"/>
                <a:gd name="connsiteY15" fmla="*/ 556952 h 1015890"/>
                <a:gd name="connsiteX16" fmla="*/ 560401 w 1015890"/>
                <a:gd name="connsiteY16" fmla="*/ 747919 h 1015890"/>
                <a:gd name="connsiteX17" fmla="*/ 580873 w 1015890"/>
                <a:gd name="connsiteY17" fmla="*/ 761850 h 1015890"/>
                <a:gd name="connsiteX18" fmla="*/ 654025 w 1015890"/>
                <a:gd name="connsiteY18" fmla="*/ 761850 h 1015890"/>
                <a:gd name="connsiteX19" fmla="*/ 663746 w 1015890"/>
                <a:gd name="connsiteY19" fmla="*/ 757192 h 1015890"/>
                <a:gd name="connsiteX20" fmla="*/ 663612 w 1015890"/>
                <a:gd name="connsiteY20" fmla="*/ 745858 h 1015890"/>
                <a:gd name="connsiteX21" fmla="*/ 560356 w 1015890"/>
                <a:gd name="connsiteY21" fmla="*/ 557176 h 1015890"/>
                <a:gd name="connsiteX22" fmla="*/ 560356 w 1015890"/>
                <a:gd name="connsiteY22" fmla="*/ 556683 h 1015890"/>
                <a:gd name="connsiteX23" fmla="*/ 722563 w 1015890"/>
                <a:gd name="connsiteY23" fmla="*/ 269897 h 1015890"/>
                <a:gd name="connsiteX24" fmla="*/ 722698 w 1015890"/>
                <a:gd name="connsiteY24" fmla="*/ 258609 h 1015890"/>
                <a:gd name="connsiteX25" fmla="*/ 712977 w 1015890"/>
                <a:gd name="connsiteY25" fmla="*/ 253950 h 1015890"/>
                <a:gd name="connsiteX26" fmla="*/ 507945 w 1015890"/>
                <a:gd name="connsiteY26" fmla="*/ 0 h 1015890"/>
                <a:gd name="connsiteX27" fmla="*/ 1015890 w 1015890"/>
                <a:gd name="connsiteY27" fmla="*/ 507945 h 1015890"/>
                <a:gd name="connsiteX28" fmla="*/ 507945 w 1015890"/>
                <a:gd name="connsiteY28" fmla="*/ 1015890 h 1015890"/>
                <a:gd name="connsiteX29" fmla="*/ 0 w 1015890"/>
                <a:gd name="connsiteY29" fmla="*/ 507945 h 1015890"/>
                <a:gd name="connsiteX30" fmla="*/ 507945 w 1015890"/>
                <a:gd name="connsiteY30" fmla="*/ 0 h 1015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015890" h="1015890">
                  <a:moveTo>
                    <a:pt x="331178" y="354293"/>
                  </a:moveTo>
                  <a:cubicBezTo>
                    <a:pt x="326743" y="354293"/>
                    <a:pt x="323070" y="355861"/>
                    <a:pt x="321188" y="358862"/>
                  </a:cubicBezTo>
                  <a:cubicBezTo>
                    <a:pt x="319262" y="361998"/>
                    <a:pt x="319576" y="366030"/>
                    <a:pt x="321592" y="370106"/>
                  </a:cubicBezTo>
                  <a:lnTo>
                    <a:pt x="371136" y="455846"/>
                  </a:lnTo>
                  <a:cubicBezTo>
                    <a:pt x="371226" y="456025"/>
                    <a:pt x="371226" y="456115"/>
                    <a:pt x="371136" y="456249"/>
                  </a:cubicBezTo>
                  <a:lnTo>
                    <a:pt x="293281" y="593595"/>
                  </a:lnTo>
                  <a:cubicBezTo>
                    <a:pt x="291265" y="597626"/>
                    <a:pt x="291354" y="601703"/>
                    <a:pt x="293281" y="604839"/>
                  </a:cubicBezTo>
                  <a:cubicBezTo>
                    <a:pt x="295162" y="607840"/>
                    <a:pt x="298432" y="609856"/>
                    <a:pt x="302866" y="609856"/>
                  </a:cubicBezTo>
                  <a:lnTo>
                    <a:pt x="376108" y="609856"/>
                  </a:lnTo>
                  <a:cubicBezTo>
                    <a:pt x="387083" y="609856"/>
                    <a:pt x="392325" y="602464"/>
                    <a:pt x="396088" y="595700"/>
                  </a:cubicBezTo>
                  <a:cubicBezTo>
                    <a:pt x="396088" y="595700"/>
                    <a:pt x="472196" y="461087"/>
                    <a:pt x="475154" y="455846"/>
                  </a:cubicBezTo>
                  <a:cubicBezTo>
                    <a:pt x="474839" y="455353"/>
                    <a:pt x="424802" y="368045"/>
                    <a:pt x="424802" y="368045"/>
                  </a:cubicBezTo>
                  <a:cubicBezTo>
                    <a:pt x="421174" y="361550"/>
                    <a:pt x="415664" y="354293"/>
                    <a:pt x="404420" y="354293"/>
                  </a:cubicBezTo>
                  <a:close/>
                  <a:moveTo>
                    <a:pt x="638929" y="253950"/>
                  </a:moveTo>
                  <a:cubicBezTo>
                    <a:pt x="627999" y="253950"/>
                    <a:pt x="623250" y="260849"/>
                    <a:pt x="619308" y="267882"/>
                  </a:cubicBezTo>
                  <a:cubicBezTo>
                    <a:pt x="619308" y="267882"/>
                    <a:pt x="461491" y="547769"/>
                    <a:pt x="456294" y="556952"/>
                  </a:cubicBezTo>
                  <a:cubicBezTo>
                    <a:pt x="456563" y="557445"/>
                    <a:pt x="560401" y="747919"/>
                    <a:pt x="560401" y="747919"/>
                  </a:cubicBezTo>
                  <a:cubicBezTo>
                    <a:pt x="564029" y="754414"/>
                    <a:pt x="569629" y="761850"/>
                    <a:pt x="580873" y="761850"/>
                  </a:cubicBezTo>
                  <a:lnTo>
                    <a:pt x="654025" y="761850"/>
                  </a:lnTo>
                  <a:cubicBezTo>
                    <a:pt x="658460" y="761850"/>
                    <a:pt x="661864" y="760193"/>
                    <a:pt x="663746" y="757192"/>
                  </a:cubicBezTo>
                  <a:cubicBezTo>
                    <a:pt x="665672" y="754056"/>
                    <a:pt x="665627" y="749935"/>
                    <a:pt x="663612" y="745858"/>
                  </a:cubicBezTo>
                  <a:lnTo>
                    <a:pt x="560356" y="557176"/>
                  </a:lnTo>
                  <a:cubicBezTo>
                    <a:pt x="560267" y="557042"/>
                    <a:pt x="560267" y="556818"/>
                    <a:pt x="560356" y="556683"/>
                  </a:cubicBezTo>
                  <a:lnTo>
                    <a:pt x="722563" y="269897"/>
                  </a:lnTo>
                  <a:cubicBezTo>
                    <a:pt x="724579" y="265866"/>
                    <a:pt x="724669" y="261700"/>
                    <a:pt x="722698" y="258609"/>
                  </a:cubicBezTo>
                  <a:cubicBezTo>
                    <a:pt x="720816" y="255607"/>
                    <a:pt x="717367" y="253950"/>
                    <a:pt x="712977" y="253950"/>
                  </a:cubicBezTo>
                  <a:close/>
                  <a:moveTo>
                    <a:pt x="507945" y="0"/>
                  </a:moveTo>
                  <a:cubicBezTo>
                    <a:pt x="788476" y="0"/>
                    <a:pt x="1015890" y="227415"/>
                    <a:pt x="1015890" y="507945"/>
                  </a:cubicBezTo>
                  <a:cubicBezTo>
                    <a:pt x="1015890" y="788476"/>
                    <a:pt x="788476" y="1015890"/>
                    <a:pt x="507945" y="1015890"/>
                  </a:cubicBezTo>
                  <a:cubicBezTo>
                    <a:pt x="227414" y="1015890"/>
                    <a:pt x="0" y="788476"/>
                    <a:pt x="0" y="507945"/>
                  </a:cubicBezTo>
                  <a:cubicBezTo>
                    <a:pt x="0" y="227415"/>
                    <a:pt x="227414" y="0"/>
                    <a:pt x="507945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448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/>
            </a:p>
          </p:txBody>
        </p:sp>
        <p:sp>
          <p:nvSpPr>
            <p:cNvPr id="29" name="LOGO - LinkedIn">
              <a:extLst>
                <a:ext uri="{FF2B5EF4-FFF2-40B4-BE49-F238E27FC236}">
                  <a16:creationId xmlns:a16="http://schemas.microsoft.com/office/drawing/2014/main" id="{26BE80EA-3096-448E-8FC5-C3C255675888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8665199" y="4330148"/>
              <a:ext cx="288001" cy="288000"/>
            </a:xfrm>
            <a:custGeom>
              <a:avLst/>
              <a:gdLst>
                <a:gd name="connsiteX0" fmla="*/ 531912 w 1015891"/>
                <a:gd name="connsiteY0" fmla="*/ 478010 h 1015890"/>
                <a:gd name="connsiteX1" fmla="*/ 531912 w 1015891"/>
                <a:gd name="connsiteY1" fmla="*/ 478648 h 1015890"/>
                <a:gd name="connsiteX2" fmla="*/ 531331 w 1015891"/>
                <a:gd name="connsiteY2" fmla="*/ 478648 h 1015890"/>
                <a:gd name="connsiteX3" fmla="*/ 313754 w 1015891"/>
                <a:gd name="connsiteY3" fmla="*/ 441378 h 1015890"/>
                <a:gd name="connsiteX4" fmla="*/ 313754 w 1015891"/>
                <a:gd name="connsiteY4" fmla="*/ 698374 h 1015890"/>
                <a:gd name="connsiteX5" fmla="*/ 399181 w 1015891"/>
                <a:gd name="connsiteY5" fmla="*/ 698374 h 1015890"/>
                <a:gd name="connsiteX6" fmla="*/ 399181 w 1015891"/>
                <a:gd name="connsiteY6" fmla="*/ 441378 h 1015890"/>
                <a:gd name="connsiteX7" fmla="*/ 608917 w 1015891"/>
                <a:gd name="connsiteY7" fmla="*/ 435330 h 1015890"/>
                <a:gd name="connsiteX8" fmla="*/ 557054 w 1015891"/>
                <a:gd name="connsiteY8" fmla="*/ 450404 h 1015890"/>
                <a:gd name="connsiteX9" fmla="*/ 531912 w 1015891"/>
                <a:gd name="connsiteY9" fmla="*/ 478010 h 1015890"/>
                <a:gd name="connsiteX10" fmla="*/ 531912 w 1015891"/>
                <a:gd name="connsiteY10" fmla="*/ 441378 h 1015890"/>
                <a:gd name="connsiteX11" fmla="*/ 446486 w 1015891"/>
                <a:gd name="connsiteY11" fmla="*/ 441378 h 1015890"/>
                <a:gd name="connsiteX12" fmla="*/ 446442 w 1015891"/>
                <a:gd name="connsiteY12" fmla="*/ 698374 h 1015890"/>
                <a:gd name="connsiteX13" fmla="*/ 531868 w 1015891"/>
                <a:gd name="connsiteY13" fmla="*/ 698374 h 1015890"/>
                <a:gd name="connsiteX14" fmla="*/ 531868 w 1015891"/>
                <a:gd name="connsiteY14" fmla="*/ 554847 h 1015890"/>
                <a:gd name="connsiteX15" fmla="*/ 534690 w 1015891"/>
                <a:gd name="connsiteY15" fmla="*/ 534016 h 1015890"/>
                <a:gd name="connsiteX16" fmla="*/ 578546 w 1015891"/>
                <a:gd name="connsiteY16" fmla="*/ 502749 h 1015890"/>
                <a:gd name="connsiteX17" fmla="*/ 621819 w 1015891"/>
                <a:gd name="connsiteY17" fmla="*/ 560894 h 1015890"/>
                <a:gd name="connsiteX18" fmla="*/ 621819 w 1015891"/>
                <a:gd name="connsiteY18" fmla="*/ 698374 h 1015890"/>
                <a:gd name="connsiteX19" fmla="*/ 707245 w 1015891"/>
                <a:gd name="connsiteY19" fmla="*/ 698374 h 1015890"/>
                <a:gd name="connsiteX20" fmla="*/ 707245 w 1015891"/>
                <a:gd name="connsiteY20" fmla="*/ 550994 h 1015890"/>
                <a:gd name="connsiteX21" fmla="*/ 608917 w 1015891"/>
                <a:gd name="connsiteY21" fmla="*/ 435330 h 1015890"/>
                <a:gd name="connsiteX22" fmla="*/ 357028 w 1015891"/>
                <a:gd name="connsiteY22" fmla="*/ 317471 h 1015890"/>
                <a:gd name="connsiteX23" fmla="*/ 308693 w 1015891"/>
                <a:gd name="connsiteY23" fmla="*/ 361864 h 1015890"/>
                <a:gd name="connsiteX24" fmla="*/ 355908 w 1015891"/>
                <a:gd name="connsiteY24" fmla="*/ 406257 h 1015890"/>
                <a:gd name="connsiteX25" fmla="*/ 356446 w 1015891"/>
                <a:gd name="connsiteY25" fmla="*/ 406257 h 1015890"/>
                <a:gd name="connsiteX26" fmla="*/ 404781 w 1015891"/>
                <a:gd name="connsiteY26" fmla="*/ 361864 h 1015890"/>
                <a:gd name="connsiteX27" fmla="*/ 357028 w 1015891"/>
                <a:gd name="connsiteY27" fmla="*/ 317471 h 1015890"/>
                <a:gd name="connsiteX28" fmla="*/ 507946 w 1015891"/>
                <a:gd name="connsiteY28" fmla="*/ 0 h 1015890"/>
                <a:gd name="connsiteX29" fmla="*/ 1015891 w 1015891"/>
                <a:gd name="connsiteY29" fmla="*/ 507945 h 1015890"/>
                <a:gd name="connsiteX30" fmla="*/ 507946 w 1015891"/>
                <a:gd name="connsiteY30" fmla="*/ 1015890 h 1015890"/>
                <a:gd name="connsiteX31" fmla="*/ 0 w 1015891"/>
                <a:gd name="connsiteY31" fmla="*/ 507945 h 1015890"/>
                <a:gd name="connsiteX32" fmla="*/ 507946 w 1015891"/>
                <a:gd name="connsiteY32" fmla="*/ 0 h 1015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1015891" h="1015890">
                  <a:moveTo>
                    <a:pt x="531912" y="478010"/>
                  </a:moveTo>
                  <a:lnTo>
                    <a:pt x="531912" y="478648"/>
                  </a:lnTo>
                  <a:lnTo>
                    <a:pt x="531331" y="478648"/>
                  </a:lnTo>
                  <a:close/>
                  <a:moveTo>
                    <a:pt x="313754" y="441378"/>
                  </a:moveTo>
                  <a:lnTo>
                    <a:pt x="313754" y="698374"/>
                  </a:lnTo>
                  <a:lnTo>
                    <a:pt x="399181" y="698374"/>
                  </a:lnTo>
                  <a:lnTo>
                    <a:pt x="399181" y="441378"/>
                  </a:lnTo>
                  <a:close/>
                  <a:moveTo>
                    <a:pt x="608917" y="435330"/>
                  </a:moveTo>
                  <a:cubicBezTo>
                    <a:pt x="585869" y="435330"/>
                    <a:pt x="569284" y="441770"/>
                    <a:pt x="557054" y="450404"/>
                  </a:cubicBezTo>
                  <a:lnTo>
                    <a:pt x="531912" y="478010"/>
                  </a:lnTo>
                  <a:lnTo>
                    <a:pt x="531912" y="441378"/>
                  </a:lnTo>
                  <a:lnTo>
                    <a:pt x="446486" y="441378"/>
                  </a:lnTo>
                  <a:cubicBezTo>
                    <a:pt x="447561" y="465478"/>
                    <a:pt x="446442" y="698419"/>
                    <a:pt x="446442" y="698374"/>
                  </a:cubicBezTo>
                  <a:lnTo>
                    <a:pt x="531868" y="698374"/>
                  </a:lnTo>
                  <a:lnTo>
                    <a:pt x="531868" y="554847"/>
                  </a:lnTo>
                  <a:cubicBezTo>
                    <a:pt x="531868" y="547186"/>
                    <a:pt x="532450" y="539481"/>
                    <a:pt x="534690" y="534016"/>
                  </a:cubicBezTo>
                  <a:cubicBezTo>
                    <a:pt x="540872" y="518651"/>
                    <a:pt x="554938" y="502749"/>
                    <a:pt x="578546" y="502749"/>
                  </a:cubicBezTo>
                  <a:cubicBezTo>
                    <a:pt x="609455" y="502749"/>
                    <a:pt x="621819" y="526311"/>
                    <a:pt x="621819" y="560894"/>
                  </a:cubicBezTo>
                  <a:lnTo>
                    <a:pt x="621819" y="698374"/>
                  </a:lnTo>
                  <a:lnTo>
                    <a:pt x="707245" y="698374"/>
                  </a:lnTo>
                  <a:lnTo>
                    <a:pt x="707245" y="550994"/>
                  </a:lnTo>
                  <a:cubicBezTo>
                    <a:pt x="707245" y="472063"/>
                    <a:pt x="665092" y="435330"/>
                    <a:pt x="608917" y="435330"/>
                  </a:cubicBezTo>
                  <a:close/>
                  <a:moveTo>
                    <a:pt x="357028" y="317471"/>
                  </a:moveTo>
                  <a:cubicBezTo>
                    <a:pt x="327776" y="317471"/>
                    <a:pt x="308693" y="336644"/>
                    <a:pt x="308693" y="361864"/>
                  </a:cubicBezTo>
                  <a:cubicBezTo>
                    <a:pt x="308693" y="386547"/>
                    <a:pt x="327239" y="406257"/>
                    <a:pt x="355908" y="406257"/>
                  </a:cubicBezTo>
                  <a:lnTo>
                    <a:pt x="356446" y="406257"/>
                  </a:lnTo>
                  <a:cubicBezTo>
                    <a:pt x="386235" y="406257"/>
                    <a:pt x="404781" y="386502"/>
                    <a:pt x="404781" y="361864"/>
                  </a:cubicBezTo>
                  <a:cubicBezTo>
                    <a:pt x="404198" y="336644"/>
                    <a:pt x="386235" y="317471"/>
                    <a:pt x="357028" y="317471"/>
                  </a:cubicBezTo>
                  <a:close/>
                  <a:moveTo>
                    <a:pt x="507946" y="0"/>
                  </a:moveTo>
                  <a:cubicBezTo>
                    <a:pt x="788476" y="0"/>
                    <a:pt x="1015891" y="227415"/>
                    <a:pt x="1015891" y="507945"/>
                  </a:cubicBezTo>
                  <a:cubicBezTo>
                    <a:pt x="1015891" y="788476"/>
                    <a:pt x="788476" y="1015890"/>
                    <a:pt x="507946" y="1015890"/>
                  </a:cubicBezTo>
                  <a:cubicBezTo>
                    <a:pt x="227415" y="1015890"/>
                    <a:pt x="0" y="788476"/>
                    <a:pt x="0" y="507945"/>
                  </a:cubicBezTo>
                  <a:cubicBezTo>
                    <a:pt x="0" y="227415"/>
                    <a:pt x="227415" y="0"/>
                    <a:pt x="507946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448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/>
            </a:p>
          </p:txBody>
        </p:sp>
        <p:sp>
          <p:nvSpPr>
            <p:cNvPr id="30" name="LOGO - Facebook">
              <a:extLst>
                <a:ext uri="{FF2B5EF4-FFF2-40B4-BE49-F238E27FC236}">
                  <a16:creationId xmlns:a16="http://schemas.microsoft.com/office/drawing/2014/main" id="{A75819F2-86D2-4F8A-9B61-C581C57E7F7C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8665199" y="3875074"/>
              <a:ext cx="288000" cy="288000"/>
            </a:xfrm>
            <a:custGeom>
              <a:avLst/>
              <a:gdLst>
                <a:gd name="connsiteX0" fmla="*/ 569988 w 1015890"/>
                <a:gd name="connsiteY0" fmla="*/ 253995 h 1015890"/>
                <a:gd name="connsiteX1" fmla="*/ 453876 w 1015890"/>
                <a:gd name="connsiteY1" fmla="*/ 373332 h 1015890"/>
                <a:gd name="connsiteX2" fmla="*/ 453876 w 1015890"/>
                <a:gd name="connsiteY2" fmla="*/ 439944 h 1015890"/>
                <a:gd name="connsiteX3" fmla="*/ 376154 w 1015890"/>
                <a:gd name="connsiteY3" fmla="*/ 439944 h 1015890"/>
                <a:gd name="connsiteX4" fmla="*/ 376154 w 1015890"/>
                <a:gd name="connsiteY4" fmla="*/ 530523 h 1015890"/>
                <a:gd name="connsiteX5" fmla="*/ 453876 w 1015890"/>
                <a:gd name="connsiteY5" fmla="*/ 530523 h 1015890"/>
                <a:gd name="connsiteX6" fmla="*/ 453876 w 1015890"/>
                <a:gd name="connsiteY6" fmla="*/ 761895 h 1015890"/>
                <a:gd name="connsiteX7" fmla="*/ 453876 w 1015890"/>
                <a:gd name="connsiteY7" fmla="*/ 761985 h 1015890"/>
                <a:gd name="connsiteX8" fmla="*/ 547321 w 1015890"/>
                <a:gd name="connsiteY8" fmla="*/ 761985 h 1015890"/>
                <a:gd name="connsiteX9" fmla="*/ 547321 w 1015890"/>
                <a:gd name="connsiteY9" fmla="*/ 530612 h 1015890"/>
                <a:gd name="connsiteX10" fmla="*/ 625311 w 1015890"/>
                <a:gd name="connsiteY10" fmla="*/ 530612 h 1015890"/>
                <a:gd name="connsiteX11" fmla="*/ 637003 w 1015890"/>
                <a:gd name="connsiteY11" fmla="*/ 440034 h 1015890"/>
                <a:gd name="connsiteX12" fmla="*/ 547321 w 1015890"/>
                <a:gd name="connsiteY12" fmla="*/ 440034 h 1015890"/>
                <a:gd name="connsiteX13" fmla="*/ 547321 w 1015890"/>
                <a:gd name="connsiteY13" fmla="*/ 382336 h 1015890"/>
                <a:gd name="connsiteX14" fmla="*/ 592117 w 1015890"/>
                <a:gd name="connsiteY14" fmla="*/ 338346 h 1015890"/>
                <a:gd name="connsiteX15" fmla="*/ 639646 w 1015890"/>
                <a:gd name="connsiteY15" fmla="*/ 338302 h 1015890"/>
                <a:gd name="connsiteX16" fmla="*/ 639646 w 1015890"/>
                <a:gd name="connsiteY16" fmla="*/ 257534 h 1015890"/>
                <a:gd name="connsiteX17" fmla="*/ 569988 w 1015890"/>
                <a:gd name="connsiteY17" fmla="*/ 253995 h 1015890"/>
                <a:gd name="connsiteX18" fmla="*/ 507945 w 1015890"/>
                <a:gd name="connsiteY18" fmla="*/ 0 h 1015890"/>
                <a:gd name="connsiteX19" fmla="*/ 1015890 w 1015890"/>
                <a:gd name="connsiteY19" fmla="*/ 507945 h 1015890"/>
                <a:gd name="connsiteX20" fmla="*/ 507945 w 1015890"/>
                <a:gd name="connsiteY20" fmla="*/ 1015890 h 1015890"/>
                <a:gd name="connsiteX21" fmla="*/ 0 w 1015890"/>
                <a:gd name="connsiteY21" fmla="*/ 507945 h 1015890"/>
                <a:gd name="connsiteX22" fmla="*/ 507945 w 1015890"/>
                <a:gd name="connsiteY22" fmla="*/ 0 h 1015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015890" h="1015890">
                  <a:moveTo>
                    <a:pt x="569988" y="253995"/>
                  </a:moveTo>
                  <a:cubicBezTo>
                    <a:pt x="501091" y="253995"/>
                    <a:pt x="453876" y="296059"/>
                    <a:pt x="453876" y="373332"/>
                  </a:cubicBezTo>
                  <a:lnTo>
                    <a:pt x="453876" y="439944"/>
                  </a:lnTo>
                  <a:lnTo>
                    <a:pt x="376154" y="439944"/>
                  </a:lnTo>
                  <a:lnTo>
                    <a:pt x="376154" y="530523"/>
                  </a:lnTo>
                  <a:lnTo>
                    <a:pt x="453876" y="530523"/>
                  </a:lnTo>
                  <a:lnTo>
                    <a:pt x="453876" y="761895"/>
                  </a:lnTo>
                  <a:lnTo>
                    <a:pt x="453876" y="761985"/>
                  </a:lnTo>
                  <a:lnTo>
                    <a:pt x="547321" y="761985"/>
                  </a:lnTo>
                  <a:lnTo>
                    <a:pt x="547321" y="530612"/>
                  </a:lnTo>
                  <a:lnTo>
                    <a:pt x="625311" y="530612"/>
                  </a:lnTo>
                  <a:lnTo>
                    <a:pt x="637003" y="440034"/>
                  </a:lnTo>
                  <a:lnTo>
                    <a:pt x="547321" y="440034"/>
                  </a:lnTo>
                  <a:lnTo>
                    <a:pt x="547321" y="382336"/>
                  </a:lnTo>
                  <a:cubicBezTo>
                    <a:pt x="547321" y="356175"/>
                    <a:pt x="554622" y="338346"/>
                    <a:pt x="592117" y="338346"/>
                  </a:cubicBezTo>
                  <a:lnTo>
                    <a:pt x="639646" y="338302"/>
                  </a:lnTo>
                  <a:lnTo>
                    <a:pt x="639646" y="257534"/>
                  </a:lnTo>
                  <a:cubicBezTo>
                    <a:pt x="631403" y="256459"/>
                    <a:pt x="603002" y="253995"/>
                    <a:pt x="569988" y="253995"/>
                  </a:cubicBezTo>
                  <a:close/>
                  <a:moveTo>
                    <a:pt x="507945" y="0"/>
                  </a:moveTo>
                  <a:cubicBezTo>
                    <a:pt x="788475" y="0"/>
                    <a:pt x="1015890" y="227415"/>
                    <a:pt x="1015890" y="507945"/>
                  </a:cubicBezTo>
                  <a:cubicBezTo>
                    <a:pt x="1015890" y="788476"/>
                    <a:pt x="788475" y="1015890"/>
                    <a:pt x="507945" y="1015890"/>
                  </a:cubicBezTo>
                  <a:cubicBezTo>
                    <a:pt x="227415" y="1015890"/>
                    <a:pt x="0" y="788476"/>
                    <a:pt x="0" y="507945"/>
                  </a:cubicBezTo>
                  <a:cubicBezTo>
                    <a:pt x="0" y="227415"/>
                    <a:pt x="227415" y="0"/>
                    <a:pt x="507945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448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/>
            </a:p>
          </p:txBody>
        </p:sp>
        <p:sp>
          <p:nvSpPr>
            <p:cNvPr id="31" name="LOGO - Twitter">
              <a:extLst>
                <a:ext uri="{FF2B5EF4-FFF2-40B4-BE49-F238E27FC236}">
                  <a16:creationId xmlns:a16="http://schemas.microsoft.com/office/drawing/2014/main" id="{086E88A2-4AE6-43E2-A569-63C542C4BE22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8665199" y="3420000"/>
              <a:ext cx="288000" cy="288000"/>
            </a:xfrm>
            <a:custGeom>
              <a:avLst/>
              <a:gdLst>
                <a:gd name="connsiteX0" fmla="*/ 636959 w 1015890"/>
                <a:gd name="connsiteY0" fmla="*/ 308064 h 1015890"/>
                <a:gd name="connsiteX1" fmla="*/ 515561 w 1015890"/>
                <a:gd name="connsiteY1" fmla="*/ 429462 h 1015890"/>
                <a:gd name="connsiteX2" fmla="*/ 518741 w 1015890"/>
                <a:gd name="connsiteY2" fmla="*/ 457146 h 1015890"/>
                <a:gd name="connsiteX3" fmla="*/ 268509 w 1015890"/>
                <a:gd name="connsiteY3" fmla="*/ 330283 h 1015890"/>
                <a:gd name="connsiteX4" fmla="*/ 252069 w 1015890"/>
                <a:gd name="connsiteY4" fmla="*/ 391340 h 1015890"/>
                <a:gd name="connsiteX5" fmla="*/ 306093 w 1015890"/>
                <a:gd name="connsiteY5" fmla="*/ 492401 h 1015890"/>
                <a:gd name="connsiteX6" fmla="*/ 251128 w 1015890"/>
                <a:gd name="connsiteY6" fmla="*/ 477215 h 1015890"/>
                <a:gd name="connsiteX7" fmla="*/ 251128 w 1015890"/>
                <a:gd name="connsiteY7" fmla="*/ 478738 h 1015890"/>
                <a:gd name="connsiteX8" fmla="*/ 348515 w 1015890"/>
                <a:gd name="connsiteY8" fmla="*/ 597762 h 1015890"/>
                <a:gd name="connsiteX9" fmla="*/ 316531 w 1015890"/>
                <a:gd name="connsiteY9" fmla="*/ 602017 h 1015890"/>
                <a:gd name="connsiteX10" fmla="*/ 293685 w 1015890"/>
                <a:gd name="connsiteY10" fmla="*/ 599867 h 1015890"/>
                <a:gd name="connsiteX11" fmla="*/ 407109 w 1015890"/>
                <a:gd name="connsiteY11" fmla="*/ 684174 h 1015890"/>
                <a:gd name="connsiteX12" fmla="*/ 256324 w 1015890"/>
                <a:gd name="connsiteY12" fmla="*/ 736137 h 1015890"/>
                <a:gd name="connsiteX13" fmla="*/ 227386 w 1015890"/>
                <a:gd name="connsiteY13" fmla="*/ 734435 h 1015890"/>
                <a:gd name="connsiteX14" fmla="*/ 413470 w 1015890"/>
                <a:gd name="connsiteY14" fmla="*/ 788997 h 1015890"/>
                <a:gd name="connsiteX15" fmla="*/ 758894 w 1015890"/>
                <a:gd name="connsiteY15" fmla="*/ 443528 h 1015890"/>
                <a:gd name="connsiteX16" fmla="*/ 758536 w 1015890"/>
                <a:gd name="connsiteY16" fmla="*/ 427849 h 1015890"/>
                <a:gd name="connsiteX17" fmla="*/ 819055 w 1015890"/>
                <a:gd name="connsiteY17" fmla="*/ 365045 h 1015890"/>
                <a:gd name="connsiteX18" fmla="*/ 749308 w 1015890"/>
                <a:gd name="connsiteY18" fmla="*/ 384128 h 1015890"/>
                <a:gd name="connsiteX19" fmla="*/ 802705 w 1015890"/>
                <a:gd name="connsiteY19" fmla="*/ 316978 h 1015890"/>
                <a:gd name="connsiteX20" fmla="*/ 725610 w 1015890"/>
                <a:gd name="connsiteY20" fmla="*/ 346410 h 1015890"/>
                <a:gd name="connsiteX21" fmla="*/ 636959 w 1015890"/>
                <a:gd name="connsiteY21" fmla="*/ 308064 h 1015890"/>
                <a:gd name="connsiteX22" fmla="*/ 507945 w 1015890"/>
                <a:gd name="connsiteY22" fmla="*/ 0 h 1015890"/>
                <a:gd name="connsiteX23" fmla="*/ 1015890 w 1015890"/>
                <a:gd name="connsiteY23" fmla="*/ 507945 h 1015890"/>
                <a:gd name="connsiteX24" fmla="*/ 507945 w 1015890"/>
                <a:gd name="connsiteY24" fmla="*/ 1015890 h 1015890"/>
                <a:gd name="connsiteX25" fmla="*/ 0 w 1015890"/>
                <a:gd name="connsiteY25" fmla="*/ 507945 h 1015890"/>
                <a:gd name="connsiteX26" fmla="*/ 507945 w 1015890"/>
                <a:gd name="connsiteY26" fmla="*/ 0 h 1015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015890" h="1015890">
                  <a:moveTo>
                    <a:pt x="636959" y="308064"/>
                  </a:moveTo>
                  <a:cubicBezTo>
                    <a:pt x="569898" y="308064"/>
                    <a:pt x="515561" y="362447"/>
                    <a:pt x="515561" y="429462"/>
                  </a:cubicBezTo>
                  <a:cubicBezTo>
                    <a:pt x="515561" y="438959"/>
                    <a:pt x="516636" y="448232"/>
                    <a:pt x="518741" y="457146"/>
                  </a:cubicBezTo>
                  <a:cubicBezTo>
                    <a:pt x="417860" y="452084"/>
                    <a:pt x="328357" y="403749"/>
                    <a:pt x="268509" y="330283"/>
                  </a:cubicBezTo>
                  <a:cubicBezTo>
                    <a:pt x="258071" y="348201"/>
                    <a:pt x="252069" y="369077"/>
                    <a:pt x="252069" y="391340"/>
                  </a:cubicBezTo>
                  <a:cubicBezTo>
                    <a:pt x="252069" y="433449"/>
                    <a:pt x="273526" y="470630"/>
                    <a:pt x="306093" y="492401"/>
                  </a:cubicBezTo>
                  <a:cubicBezTo>
                    <a:pt x="286204" y="491774"/>
                    <a:pt x="267479" y="486308"/>
                    <a:pt x="251128" y="477215"/>
                  </a:cubicBezTo>
                  <a:cubicBezTo>
                    <a:pt x="251128" y="477752"/>
                    <a:pt x="251128" y="478245"/>
                    <a:pt x="251128" y="478738"/>
                  </a:cubicBezTo>
                  <a:cubicBezTo>
                    <a:pt x="251128" y="537555"/>
                    <a:pt x="293013" y="586607"/>
                    <a:pt x="348515" y="597762"/>
                  </a:cubicBezTo>
                  <a:cubicBezTo>
                    <a:pt x="338346" y="600539"/>
                    <a:pt x="327595" y="602017"/>
                    <a:pt x="316531" y="602017"/>
                  </a:cubicBezTo>
                  <a:cubicBezTo>
                    <a:pt x="308691" y="602017"/>
                    <a:pt x="301076" y="601256"/>
                    <a:pt x="293685" y="599867"/>
                  </a:cubicBezTo>
                  <a:cubicBezTo>
                    <a:pt x="309139" y="648068"/>
                    <a:pt x="353980" y="683188"/>
                    <a:pt x="407109" y="684174"/>
                  </a:cubicBezTo>
                  <a:cubicBezTo>
                    <a:pt x="365538" y="716741"/>
                    <a:pt x="313216" y="736137"/>
                    <a:pt x="256324" y="736137"/>
                  </a:cubicBezTo>
                  <a:cubicBezTo>
                    <a:pt x="246559" y="736137"/>
                    <a:pt x="236838" y="735555"/>
                    <a:pt x="227386" y="734435"/>
                  </a:cubicBezTo>
                  <a:cubicBezTo>
                    <a:pt x="281097" y="768884"/>
                    <a:pt x="344932" y="788997"/>
                    <a:pt x="413470" y="788997"/>
                  </a:cubicBezTo>
                  <a:cubicBezTo>
                    <a:pt x="636779" y="788997"/>
                    <a:pt x="758894" y="603988"/>
                    <a:pt x="758894" y="443528"/>
                  </a:cubicBezTo>
                  <a:cubicBezTo>
                    <a:pt x="758894" y="438287"/>
                    <a:pt x="758760" y="433046"/>
                    <a:pt x="758536" y="427849"/>
                  </a:cubicBezTo>
                  <a:cubicBezTo>
                    <a:pt x="782188" y="410737"/>
                    <a:pt x="802794" y="389369"/>
                    <a:pt x="819055" y="365045"/>
                  </a:cubicBezTo>
                  <a:cubicBezTo>
                    <a:pt x="797284" y="374676"/>
                    <a:pt x="773856" y="381216"/>
                    <a:pt x="749308" y="384128"/>
                  </a:cubicBezTo>
                  <a:cubicBezTo>
                    <a:pt x="774394" y="369121"/>
                    <a:pt x="793611" y="345335"/>
                    <a:pt x="802705" y="316978"/>
                  </a:cubicBezTo>
                  <a:cubicBezTo>
                    <a:pt x="779232" y="330910"/>
                    <a:pt x="753250" y="340989"/>
                    <a:pt x="725610" y="346410"/>
                  </a:cubicBezTo>
                  <a:cubicBezTo>
                    <a:pt x="703481" y="322802"/>
                    <a:pt x="671900" y="308064"/>
                    <a:pt x="636959" y="308064"/>
                  </a:cubicBezTo>
                  <a:close/>
                  <a:moveTo>
                    <a:pt x="507945" y="0"/>
                  </a:moveTo>
                  <a:cubicBezTo>
                    <a:pt x="788476" y="0"/>
                    <a:pt x="1015890" y="227415"/>
                    <a:pt x="1015890" y="507945"/>
                  </a:cubicBezTo>
                  <a:cubicBezTo>
                    <a:pt x="1015890" y="788476"/>
                    <a:pt x="788475" y="1015890"/>
                    <a:pt x="507945" y="1015890"/>
                  </a:cubicBezTo>
                  <a:cubicBezTo>
                    <a:pt x="227415" y="1015890"/>
                    <a:pt x="0" y="788476"/>
                    <a:pt x="0" y="507945"/>
                  </a:cubicBezTo>
                  <a:cubicBezTo>
                    <a:pt x="0" y="227415"/>
                    <a:pt x="227415" y="0"/>
                    <a:pt x="507945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448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/>
            </a:p>
          </p:txBody>
        </p:sp>
      </p:grpSp>
      <p:sp>
        <p:nvSpPr>
          <p:cNvPr id="35" name="Textplatzhalter 5">
            <a:extLst>
              <a:ext uri="{FF2B5EF4-FFF2-40B4-BE49-F238E27FC236}">
                <a16:creationId xmlns:a16="http://schemas.microsoft.com/office/drawing/2014/main" id="{FEF2D7DC-79E4-4895-9C49-2D155BD27E8F}"/>
              </a:ext>
            </a:extLst>
          </p:cNvPr>
          <p:cNvSpPr>
            <a:spLocks noGrp="1"/>
          </p:cNvSpPr>
          <p:nvPr userDrawn="1">
            <p:ph type="body" sz="quarter" idx="44"/>
          </p:nvPr>
        </p:nvSpPr>
        <p:spPr bwMode="gray">
          <a:xfrm>
            <a:off x="8953199" y="5201993"/>
            <a:ext cx="2696399" cy="288000"/>
          </a:xfrm>
          <a:noFill/>
        </p:spPr>
        <p:txBody>
          <a:bodyPr lIns="180000" tIns="0" rIns="0" bIns="0" anchor="ctr" anchorCtr="0"/>
          <a:lstStyle>
            <a:lvl1pPr marL="0" indent="0" algn="l">
              <a:buNone/>
              <a:defRPr sz="12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endParaRPr lang="de-DE"/>
          </a:p>
        </p:txBody>
      </p:sp>
      <p:sp>
        <p:nvSpPr>
          <p:cNvPr id="34" name="Textplatzhalter 4">
            <a:extLst>
              <a:ext uri="{FF2B5EF4-FFF2-40B4-BE49-F238E27FC236}">
                <a16:creationId xmlns:a16="http://schemas.microsoft.com/office/drawing/2014/main" id="{67B96B68-6854-4892-9152-5B6C85254C91}"/>
              </a:ext>
            </a:extLst>
          </p:cNvPr>
          <p:cNvSpPr>
            <a:spLocks noGrp="1"/>
          </p:cNvSpPr>
          <p:nvPr userDrawn="1">
            <p:ph type="body" sz="quarter" idx="43"/>
          </p:nvPr>
        </p:nvSpPr>
        <p:spPr bwMode="gray">
          <a:xfrm>
            <a:off x="8953199" y="4785222"/>
            <a:ext cx="2696399" cy="288000"/>
          </a:xfrm>
          <a:noFill/>
        </p:spPr>
        <p:txBody>
          <a:bodyPr lIns="180000" tIns="0" rIns="0" bIns="0" anchor="ctr" anchorCtr="0"/>
          <a:lstStyle>
            <a:lvl1pPr marL="0" indent="0" algn="l">
              <a:buNone/>
              <a:defRPr sz="12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endParaRPr lang="de-DE"/>
          </a:p>
        </p:txBody>
      </p:sp>
      <p:sp>
        <p:nvSpPr>
          <p:cNvPr id="33" name="Textplatzhalter 3">
            <a:extLst>
              <a:ext uri="{FF2B5EF4-FFF2-40B4-BE49-F238E27FC236}">
                <a16:creationId xmlns:a16="http://schemas.microsoft.com/office/drawing/2014/main" id="{52A39AB0-E282-4016-9327-360321E4A9F0}"/>
              </a:ext>
            </a:extLst>
          </p:cNvPr>
          <p:cNvSpPr>
            <a:spLocks noGrp="1"/>
          </p:cNvSpPr>
          <p:nvPr userDrawn="1">
            <p:ph type="body" sz="quarter" idx="42"/>
          </p:nvPr>
        </p:nvSpPr>
        <p:spPr bwMode="gray">
          <a:xfrm>
            <a:off x="8953199" y="4330148"/>
            <a:ext cx="2696399" cy="288000"/>
          </a:xfrm>
          <a:noFill/>
        </p:spPr>
        <p:txBody>
          <a:bodyPr lIns="180000" tIns="0" rIns="0" bIns="0" anchor="ctr" anchorCtr="0"/>
          <a:lstStyle>
            <a:lvl1pPr marL="0" indent="0" algn="l">
              <a:buNone/>
              <a:defRPr sz="12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endParaRPr lang="de-DE"/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B836DB3B-9F71-49A2-8444-B152AF7109BD}"/>
              </a:ext>
            </a:extLst>
          </p:cNvPr>
          <p:cNvSpPr>
            <a:spLocks noGrp="1"/>
          </p:cNvSpPr>
          <p:nvPr userDrawn="1">
            <p:ph type="body" sz="quarter" idx="41"/>
          </p:nvPr>
        </p:nvSpPr>
        <p:spPr bwMode="gray">
          <a:xfrm>
            <a:off x="8953199" y="3875074"/>
            <a:ext cx="2696399" cy="288000"/>
          </a:xfrm>
          <a:noFill/>
        </p:spPr>
        <p:txBody>
          <a:bodyPr lIns="180000" tIns="0" rIns="0" bIns="0" anchor="ctr" anchorCtr="0"/>
          <a:lstStyle>
            <a:lvl1pPr marL="0" indent="0" algn="l">
              <a:buNone/>
              <a:defRPr sz="12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endParaRPr lang="de-DE"/>
          </a:p>
        </p:txBody>
      </p:sp>
      <p:sp>
        <p:nvSpPr>
          <p:cNvPr id="13" name="Textplatzhalter 1">
            <a:extLst>
              <a:ext uri="{FF2B5EF4-FFF2-40B4-BE49-F238E27FC236}">
                <a16:creationId xmlns:a16="http://schemas.microsoft.com/office/drawing/2014/main" id="{27FF95FF-BD85-4180-826B-54DDA689FE42}"/>
              </a:ext>
            </a:extLst>
          </p:cNvPr>
          <p:cNvSpPr>
            <a:spLocks noGrp="1"/>
          </p:cNvSpPr>
          <p:nvPr userDrawn="1">
            <p:ph type="body" sz="quarter" idx="40"/>
          </p:nvPr>
        </p:nvSpPr>
        <p:spPr bwMode="gray">
          <a:xfrm>
            <a:off x="8953199" y="3420000"/>
            <a:ext cx="2696399" cy="288000"/>
          </a:xfrm>
          <a:noFill/>
        </p:spPr>
        <p:txBody>
          <a:bodyPr lIns="180000" tIns="0" rIns="0" bIns="0" anchor="ctr" anchorCtr="0"/>
          <a:lstStyle>
            <a:lvl1pPr marL="0" indent="0" algn="l">
              <a:buNone/>
              <a:defRPr sz="12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endParaRPr lang="de-DE"/>
          </a:p>
        </p:txBody>
      </p:sp>
      <p:sp>
        <p:nvSpPr>
          <p:cNvPr id="16" name="Inhalt">
            <a:extLst>
              <a:ext uri="{FF2B5EF4-FFF2-40B4-BE49-F238E27FC236}">
                <a16:creationId xmlns:a16="http://schemas.microsoft.com/office/drawing/2014/main" id="{2CA68037-AB51-4DF8-A715-F54638BDABB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>
          <a:xfrm>
            <a:off x="4600800" y="4140000"/>
            <a:ext cx="2984400" cy="2069995"/>
          </a:xfrm>
          <a:noFill/>
        </p:spPr>
        <p:txBody>
          <a:bodyPr lIns="0" tIns="216000" rIns="0" bIns="0" anchor="t" anchorCtr="0"/>
          <a:lstStyle>
            <a:lvl1pPr marL="0" indent="0" algn="l">
              <a:buNone/>
              <a:defRPr sz="16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8" name="Textplatzhalter">
            <a:extLst>
              <a:ext uri="{FF2B5EF4-FFF2-40B4-BE49-F238E27FC236}">
                <a16:creationId xmlns:a16="http://schemas.microsoft.com/office/drawing/2014/main" id="{19F0E956-E7B1-4BC6-AB33-C0492377BFCE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 bwMode="gray">
          <a:xfrm>
            <a:off x="4600800" y="3420000"/>
            <a:ext cx="2984400" cy="720000"/>
          </a:xfrm>
          <a:noFill/>
        </p:spPr>
        <p:txBody>
          <a:bodyPr lIns="0" rIns="0" bIns="0" anchor="b" anchorCtr="0"/>
          <a:lstStyle>
            <a:lvl1pPr marL="0" indent="0" algn="l">
              <a:buNone/>
              <a:defRPr sz="2000" b="1">
                <a:solidFill>
                  <a:schemeClr val="accent1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7" name="Bildplatzhalter 1">
            <a:extLst>
              <a:ext uri="{FF2B5EF4-FFF2-40B4-BE49-F238E27FC236}">
                <a16:creationId xmlns:a16="http://schemas.microsoft.com/office/drawing/2014/main" id="{6DD6E0E0-2644-4F18-B1F9-D79368D46529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 bwMode="gray">
          <a:xfrm>
            <a:off x="4600800" y="1501198"/>
            <a:ext cx="1918801" cy="1918801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CA4CA5FE-4CD4-4613-93D2-A1B9B92111FB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599404" y="432000"/>
            <a:ext cx="7050195" cy="792000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209375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">
            <a:extLst>
              <a:ext uri="{FF2B5EF4-FFF2-40B4-BE49-F238E27FC236}">
                <a16:creationId xmlns:a16="http://schemas.microsoft.com/office/drawing/2014/main" id="{D5FF74F3-FFDD-45BD-92A1-DE5C9D1CE2BB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 bwMode="gray"/>
        <p:txBody>
          <a:bodyPr/>
          <a:lstStyle/>
          <a:p>
            <a:r>
              <a:rPr lang="de-DE"/>
              <a:t>© Heinz Nixdorf Institut / Fraunhofer IEM</a:t>
            </a:r>
          </a:p>
        </p:txBody>
      </p:sp>
      <p:sp>
        <p:nvSpPr>
          <p:cNvPr id="13" name="Strich">
            <a:extLst>
              <a:ext uri="{FF2B5EF4-FFF2-40B4-BE49-F238E27FC236}">
                <a16:creationId xmlns:a16="http://schemas.microsoft.com/office/drawing/2014/main" id="{DB7061D7-7FFE-485E-8A9D-F8DFB5484EDB}"/>
              </a:ext>
            </a:extLst>
          </p:cNvPr>
          <p:cNvSpPr>
            <a:spLocks noGrp="1"/>
          </p:cNvSpPr>
          <p:nvPr>
            <p:ph sz="quarter" idx="38" hasCustomPrompt="1"/>
          </p:nvPr>
        </p:nvSpPr>
        <p:spPr bwMode="gray">
          <a:xfrm>
            <a:off x="941337" y="6426000"/>
            <a:ext cx="10800" cy="216000"/>
          </a:xfrm>
          <a:solidFill>
            <a:schemeClr val="tx1">
              <a:lumMod val="75000"/>
              <a:lumOff val="25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  <a:lvl2pPr marL="266700" indent="0">
              <a:buNone/>
              <a:defRPr/>
            </a:lvl2pPr>
            <a:lvl3pPr marL="542925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3" name="Foliennummernplatzhalter">
            <a:extLst>
              <a:ext uri="{FF2B5EF4-FFF2-40B4-BE49-F238E27FC236}">
                <a16:creationId xmlns:a16="http://schemas.microsoft.com/office/drawing/2014/main" id="{74EF622F-537E-434D-B4DE-2EF8F23040E3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 bwMode="gray"/>
        <p:txBody>
          <a:bodyPr/>
          <a:lstStyle/>
          <a:p>
            <a:fld id="{65685BD5-7F70-499C-8F04-1460C72EE5D6}" type="slidenum">
              <a:rPr lang="de-DE" smtClean="0"/>
              <a:pPr/>
              <a:t>‹#›</a:t>
            </a:fld>
            <a:endParaRPr lang="de-DE"/>
          </a:p>
        </p:txBody>
      </p:sp>
      <p:cxnSp>
        <p:nvCxnSpPr>
          <p:cNvPr id="23" name="Gerader Verbinder 22">
            <a:extLst>
              <a:ext uri="{FF2B5EF4-FFF2-40B4-BE49-F238E27FC236}">
                <a16:creationId xmlns:a16="http://schemas.microsoft.com/office/drawing/2014/main" id="{C10B8999-BB45-4D98-BB3A-2129BEDE688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540000" y="3428998"/>
            <a:ext cx="9148079" cy="0"/>
          </a:xfrm>
          <a:prstGeom prst="line">
            <a:avLst/>
          </a:prstGeom>
          <a:ln w="19050" cap="flat">
            <a:solidFill>
              <a:schemeClr val="bg1">
                <a:lumMod val="75000"/>
              </a:schemeClr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ICON">
            <a:extLst>
              <a:ext uri="{FF2B5EF4-FFF2-40B4-BE49-F238E27FC236}">
                <a16:creationId xmlns:a16="http://schemas.microsoft.com/office/drawing/2014/main" id="{002C0DCF-57EF-47D4-AB88-FB79F717C662}"/>
              </a:ext>
            </a:extLst>
          </p:cNvPr>
          <p:cNvSpPr>
            <a:spLocks noChangeAspect="1"/>
          </p:cNvSpPr>
          <p:nvPr userDrawn="1"/>
        </p:nvSpPr>
        <p:spPr bwMode="gray">
          <a:xfrm>
            <a:off x="9688079" y="3068996"/>
            <a:ext cx="941660" cy="720000"/>
          </a:xfrm>
          <a:custGeom>
            <a:avLst/>
            <a:gdLst>
              <a:gd name="connsiteX0" fmla="*/ 204787 w 570548"/>
              <a:gd name="connsiteY0" fmla="*/ 213360 h 436245"/>
              <a:gd name="connsiteX1" fmla="*/ 273367 w 570548"/>
              <a:gd name="connsiteY1" fmla="*/ 248602 h 436245"/>
              <a:gd name="connsiteX2" fmla="*/ 295275 w 570548"/>
              <a:gd name="connsiteY2" fmla="*/ 248602 h 436245"/>
              <a:gd name="connsiteX3" fmla="*/ 363855 w 570548"/>
              <a:gd name="connsiteY3" fmla="*/ 213360 h 436245"/>
              <a:gd name="connsiteX4" fmla="*/ 375285 w 570548"/>
              <a:gd name="connsiteY4" fmla="*/ 217170 h 436245"/>
              <a:gd name="connsiteX5" fmla="*/ 371475 w 570548"/>
              <a:gd name="connsiteY5" fmla="*/ 229552 h 436245"/>
              <a:gd name="connsiteX6" fmla="*/ 302895 w 570548"/>
              <a:gd name="connsiteY6" fmla="*/ 264795 h 436245"/>
              <a:gd name="connsiteX7" fmla="*/ 283845 w 570548"/>
              <a:gd name="connsiteY7" fmla="*/ 269557 h 436245"/>
              <a:gd name="connsiteX8" fmla="*/ 264795 w 570548"/>
              <a:gd name="connsiteY8" fmla="*/ 264795 h 436245"/>
              <a:gd name="connsiteX9" fmla="*/ 196215 w 570548"/>
              <a:gd name="connsiteY9" fmla="*/ 229552 h 436245"/>
              <a:gd name="connsiteX10" fmla="*/ 192405 w 570548"/>
              <a:gd name="connsiteY10" fmla="*/ 217170 h 436245"/>
              <a:gd name="connsiteX11" fmla="*/ 204787 w 570548"/>
              <a:gd name="connsiteY11" fmla="*/ 213360 h 436245"/>
              <a:gd name="connsiteX12" fmla="*/ 19050 w 570548"/>
              <a:gd name="connsiteY12" fmla="*/ 91440 h 436245"/>
              <a:gd name="connsiteX13" fmla="*/ 19050 w 570548"/>
              <a:gd name="connsiteY13" fmla="*/ 413385 h 436245"/>
              <a:gd name="connsiteX14" fmla="*/ 22860 w 570548"/>
              <a:gd name="connsiteY14" fmla="*/ 417195 h 436245"/>
              <a:gd name="connsiteX15" fmla="*/ 547688 w 570548"/>
              <a:gd name="connsiteY15" fmla="*/ 417195 h 436245"/>
              <a:gd name="connsiteX16" fmla="*/ 551498 w 570548"/>
              <a:gd name="connsiteY16" fmla="*/ 413385 h 436245"/>
              <a:gd name="connsiteX17" fmla="*/ 551498 w 570548"/>
              <a:gd name="connsiteY17" fmla="*/ 91440 h 436245"/>
              <a:gd name="connsiteX18" fmla="*/ 290513 w 570548"/>
              <a:gd name="connsiteY18" fmla="*/ 228600 h 436245"/>
              <a:gd name="connsiteX19" fmla="*/ 285750 w 570548"/>
              <a:gd name="connsiteY19" fmla="*/ 229553 h 436245"/>
              <a:gd name="connsiteX20" fmla="*/ 280988 w 570548"/>
              <a:gd name="connsiteY20" fmla="*/ 228600 h 436245"/>
              <a:gd name="connsiteX21" fmla="*/ 22860 w 570548"/>
              <a:gd name="connsiteY21" fmla="*/ 19050 h 436245"/>
              <a:gd name="connsiteX22" fmla="*/ 19050 w 570548"/>
              <a:gd name="connsiteY22" fmla="*/ 22860 h 436245"/>
              <a:gd name="connsiteX23" fmla="*/ 19050 w 570548"/>
              <a:gd name="connsiteY23" fmla="*/ 69533 h 436245"/>
              <a:gd name="connsiteX24" fmla="*/ 284798 w 570548"/>
              <a:gd name="connsiteY24" fmla="*/ 209550 h 436245"/>
              <a:gd name="connsiteX25" fmla="*/ 551498 w 570548"/>
              <a:gd name="connsiteY25" fmla="*/ 69533 h 436245"/>
              <a:gd name="connsiteX26" fmla="*/ 551498 w 570548"/>
              <a:gd name="connsiteY26" fmla="*/ 22860 h 436245"/>
              <a:gd name="connsiteX27" fmla="*/ 547688 w 570548"/>
              <a:gd name="connsiteY27" fmla="*/ 19050 h 436245"/>
              <a:gd name="connsiteX28" fmla="*/ 22860 w 570548"/>
              <a:gd name="connsiteY28" fmla="*/ 0 h 436245"/>
              <a:gd name="connsiteX29" fmla="*/ 547688 w 570548"/>
              <a:gd name="connsiteY29" fmla="*/ 0 h 436245"/>
              <a:gd name="connsiteX30" fmla="*/ 570548 w 570548"/>
              <a:gd name="connsiteY30" fmla="*/ 22860 h 436245"/>
              <a:gd name="connsiteX31" fmla="*/ 570548 w 570548"/>
              <a:gd name="connsiteY31" fmla="*/ 413385 h 436245"/>
              <a:gd name="connsiteX32" fmla="*/ 547688 w 570548"/>
              <a:gd name="connsiteY32" fmla="*/ 436245 h 436245"/>
              <a:gd name="connsiteX33" fmla="*/ 22860 w 570548"/>
              <a:gd name="connsiteY33" fmla="*/ 436245 h 436245"/>
              <a:gd name="connsiteX34" fmla="*/ 0 w 570548"/>
              <a:gd name="connsiteY34" fmla="*/ 413385 h 436245"/>
              <a:gd name="connsiteX35" fmla="*/ 0 w 570548"/>
              <a:gd name="connsiteY35" fmla="*/ 22860 h 436245"/>
              <a:gd name="connsiteX36" fmla="*/ 22860 w 570548"/>
              <a:gd name="connsiteY36" fmla="*/ 0 h 436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570548" h="436245">
                <a:moveTo>
                  <a:pt x="204787" y="213360"/>
                </a:moveTo>
                <a:lnTo>
                  <a:pt x="273367" y="248602"/>
                </a:lnTo>
                <a:cubicBezTo>
                  <a:pt x="279082" y="251460"/>
                  <a:pt x="287655" y="252412"/>
                  <a:pt x="295275" y="248602"/>
                </a:cubicBezTo>
                <a:lnTo>
                  <a:pt x="363855" y="213360"/>
                </a:lnTo>
                <a:cubicBezTo>
                  <a:pt x="368617" y="211455"/>
                  <a:pt x="374332" y="213360"/>
                  <a:pt x="375285" y="217170"/>
                </a:cubicBezTo>
                <a:cubicBezTo>
                  <a:pt x="378142" y="220980"/>
                  <a:pt x="376237" y="226695"/>
                  <a:pt x="371475" y="229552"/>
                </a:cubicBezTo>
                <a:lnTo>
                  <a:pt x="302895" y="264795"/>
                </a:lnTo>
                <a:cubicBezTo>
                  <a:pt x="296227" y="267652"/>
                  <a:pt x="290512" y="269557"/>
                  <a:pt x="283845" y="269557"/>
                </a:cubicBezTo>
                <a:cubicBezTo>
                  <a:pt x="277177" y="269557"/>
                  <a:pt x="270510" y="267652"/>
                  <a:pt x="264795" y="264795"/>
                </a:cubicBezTo>
                <a:lnTo>
                  <a:pt x="196215" y="229552"/>
                </a:lnTo>
                <a:cubicBezTo>
                  <a:pt x="191452" y="227647"/>
                  <a:pt x="189547" y="221932"/>
                  <a:pt x="192405" y="217170"/>
                </a:cubicBezTo>
                <a:cubicBezTo>
                  <a:pt x="194310" y="212407"/>
                  <a:pt x="200025" y="210502"/>
                  <a:pt x="204787" y="213360"/>
                </a:cubicBezTo>
                <a:close/>
                <a:moveTo>
                  <a:pt x="19050" y="91440"/>
                </a:moveTo>
                <a:lnTo>
                  <a:pt x="19050" y="413385"/>
                </a:lnTo>
                <a:cubicBezTo>
                  <a:pt x="19050" y="415290"/>
                  <a:pt x="20955" y="417195"/>
                  <a:pt x="22860" y="417195"/>
                </a:cubicBezTo>
                <a:lnTo>
                  <a:pt x="547688" y="417195"/>
                </a:lnTo>
                <a:cubicBezTo>
                  <a:pt x="550545" y="417195"/>
                  <a:pt x="551498" y="415290"/>
                  <a:pt x="551498" y="413385"/>
                </a:cubicBezTo>
                <a:lnTo>
                  <a:pt x="551498" y="91440"/>
                </a:lnTo>
                <a:lnTo>
                  <a:pt x="290513" y="228600"/>
                </a:lnTo>
                <a:cubicBezTo>
                  <a:pt x="288608" y="229553"/>
                  <a:pt x="287655" y="229553"/>
                  <a:pt x="285750" y="229553"/>
                </a:cubicBezTo>
                <a:cubicBezTo>
                  <a:pt x="283845" y="229553"/>
                  <a:pt x="281940" y="229553"/>
                  <a:pt x="280988" y="228600"/>
                </a:cubicBezTo>
                <a:close/>
                <a:moveTo>
                  <a:pt x="22860" y="19050"/>
                </a:moveTo>
                <a:cubicBezTo>
                  <a:pt x="20955" y="19050"/>
                  <a:pt x="19050" y="20955"/>
                  <a:pt x="19050" y="22860"/>
                </a:cubicBezTo>
                <a:lnTo>
                  <a:pt x="19050" y="69533"/>
                </a:lnTo>
                <a:lnTo>
                  <a:pt x="284798" y="209550"/>
                </a:lnTo>
                <a:lnTo>
                  <a:pt x="551498" y="69533"/>
                </a:lnTo>
                <a:lnTo>
                  <a:pt x="551498" y="22860"/>
                </a:lnTo>
                <a:cubicBezTo>
                  <a:pt x="551498" y="20955"/>
                  <a:pt x="549593" y="19050"/>
                  <a:pt x="547688" y="19050"/>
                </a:cubicBezTo>
                <a:close/>
                <a:moveTo>
                  <a:pt x="22860" y="0"/>
                </a:moveTo>
                <a:lnTo>
                  <a:pt x="547688" y="0"/>
                </a:lnTo>
                <a:cubicBezTo>
                  <a:pt x="560070" y="0"/>
                  <a:pt x="570548" y="10478"/>
                  <a:pt x="570548" y="22860"/>
                </a:cubicBezTo>
                <a:lnTo>
                  <a:pt x="570548" y="413385"/>
                </a:lnTo>
                <a:cubicBezTo>
                  <a:pt x="570548" y="425768"/>
                  <a:pt x="560070" y="436245"/>
                  <a:pt x="547688" y="436245"/>
                </a:cubicBezTo>
                <a:lnTo>
                  <a:pt x="22860" y="436245"/>
                </a:lnTo>
                <a:cubicBezTo>
                  <a:pt x="10478" y="436245"/>
                  <a:pt x="0" y="425768"/>
                  <a:pt x="0" y="413385"/>
                </a:cubicBezTo>
                <a:lnTo>
                  <a:pt x="0" y="22860"/>
                </a:lnTo>
                <a:cubicBezTo>
                  <a:pt x="0" y="10478"/>
                  <a:pt x="10478" y="0"/>
                  <a:pt x="22860" y="0"/>
                </a:cubicBezTo>
                <a:close/>
              </a:path>
            </a:pathLst>
          </a:custGeom>
          <a:gradFill flip="none" rotWithShape="1">
            <a:gsLst>
              <a:gs pos="80000">
                <a:schemeClr val="accent1"/>
              </a:gs>
              <a:gs pos="5000">
                <a:schemeClr val="tx2"/>
              </a:gs>
            </a:gsLst>
            <a:lin ang="2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  <a:spcAft>
                <a:spcPts val="1000"/>
              </a:spcAft>
            </a:pPr>
            <a:endParaRPr lang="de-DE" sz="1400"/>
          </a:p>
        </p:txBody>
      </p:sp>
      <p:sp>
        <p:nvSpPr>
          <p:cNvPr id="25" name="Inhalt 2">
            <a:extLst>
              <a:ext uri="{FF2B5EF4-FFF2-40B4-BE49-F238E27FC236}">
                <a16:creationId xmlns:a16="http://schemas.microsoft.com/office/drawing/2014/main" id="{992600E5-B799-467A-9EBF-190647D1E681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 bwMode="gray">
          <a:xfrm>
            <a:off x="4600800" y="4140000"/>
            <a:ext cx="2984400" cy="2069995"/>
          </a:xfrm>
          <a:noFill/>
        </p:spPr>
        <p:txBody>
          <a:bodyPr lIns="0" tIns="216000" rIns="0" bIns="0" anchor="t" anchorCtr="0"/>
          <a:lstStyle>
            <a:lvl1pPr marL="0" indent="0" algn="l">
              <a:buNone/>
              <a:defRPr sz="16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888B7A3E-2B67-42E8-B53C-B5FC65EB9A39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 bwMode="gray">
          <a:xfrm>
            <a:off x="4600800" y="3420000"/>
            <a:ext cx="2984400" cy="720000"/>
          </a:xfrm>
          <a:noFill/>
        </p:spPr>
        <p:txBody>
          <a:bodyPr lIns="0" rIns="0" bIns="0" anchor="b" anchorCtr="0"/>
          <a:lstStyle>
            <a:lvl1pPr marL="0" indent="0" algn="l">
              <a:buNone/>
              <a:defRPr sz="2000" b="1">
                <a:solidFill>
                  <a:schemeClr val="accent1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6" name="Bildplatzhalter 2">
            <a:extLst>
              <a:ext uri="{FF2B5EF4-FFF2-40B4-BE49-F238E27FC236}">
                <a16:creationId xmlns:a16="http://schemas.microsoft.com/office/drawing/2014/main" id="{35674AB5-495C-4CC5-A7B3-6547D55F1997}"/>
              </a:ext>
            </a:extLst>
          </p:cNvPr>
          <p:cNvSpPr>
            <a:spLocks noGrp="1" noChangeAspect="1"/>
          </p:cNvSpPr>
          <p:nvPr>
            <p:ph type="pic" sz="quarter" idx="43"/>
          </p:nvPr>
        </p:nvSpPr>
        <p:spPr bwMode="gray">
          <a:xfrm>
            <a:off x="4600800" y="1501198"/>
            <a:ext cx="1918801" cy="1918801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14" name="Inhalt 1">
            <a:extLst>
              <a:ext uri="{FF2B5EF4-FFF2-40B4-BE49-F238E27FC236}">
                <a16:creationId xmlns:a16="http://schemas.microsoft.com/office/drawing/2014/main" id="{581F6FA7-0AE1-4F6E-A251-5BC1A0FFEA93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 bwMode="gray">
          <a:xfrm>
            <a:off x="540000" y="4140000"/>
            <a:ext cx="2984400" cy="2069995"/>
          </a:xfrm>
          <a:noFill/>
        </p:spPr>
        <p:txBody>
          <a:bodyPr lIns="0" tIns="216000" rIns="0" bIns="0" anchor="t" anchorCtr="0"/>
          <a:lstStyle>
            <a:lvl1pPr marL="0" indent="0" algn="l">
              <a:buNone/>
              <a:defRPr sz="16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0" name="Textplatzhalter 1">
            <a:extLst>
              <a:ext uri="{FF2B5EF4-FFF2-40B4-BE49-F238E27FC236}">
                <a16:creationId xmlns:a16="http://schemas.microsoft.com/office/drawing/2014/main" id="{29E51732-658E-4A26-BD73-DE2B6D3E31DE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 bwMode="gray">
          <a:xfrm>
            <a:off x="540000" y="3420000"/>
            <a:ext cx="2984400" cy="720000"/>
          </a:xfrm>
          <a:noFill/>
        </p:spPr>
        <p:txBody>
          <a:bodyPr lIns="0" rIns="0" bIns="0" anchor="b" anchorCtr="0"/>
          <a:lstStyle>
            <a:lvl1pPr marL="0" indent="0" algn="l">
              <a:buNone/>
              <a:defRPr sz="2000" b="1">
                <a:solidFill>
                  <a:schemeClr val="accent1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9" name="Bildplatzhalter 1">
            <a:extLst>
              <a:ext uri="{FF2B5EF4-FFF2-40B4-BE49-F238E27FC236}">
                <a16:creationId xmlns:a16="http://schemas.microsoft.com/office/drawing/2014/main" id="{7C2948A9-2F6C-4038-BCFD-F7BDD17510CB}"/>
              </a:ext>
            </a:extLst>
          </p:cNvPr>
          <p:cNvSpPr>
            <a:spLocks noGrp="1" noChangeAspect="1"/>
          </p:cNvSpPr>
          <p:nvPr>
            <p:ph type="pic" sz="quarter" idx="40"/>
          </p:nvPr>
        </p:nvSpPr>
        <p:spPr bwMode="gray">
          <a:xfrm>
            <a:off x="540000" y="1501198"/>
            <a:ext cx="1918801" cy="1918801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5" name="Titel">
            <a:extLst>
              <a:ext uri="{FF2B5EF4-FFF2-40B4-BE49-F238E27FC236}">
                <a16:creationId xmlns:a16="http://schemas.microsoft.com/office/drawing/2014/main" id="{08A0E3B8-B859-4BA6-8F0F-6A0CBE90B29D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40000" y="432000"/>
            <a:ext cx="11109600" cy="792000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3449866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">
            <a:extLst>
              <a:ext uri="{FF2B5EF4-FFF2-40B4-BE49-F238E27FC236}">
                <a16:creationId xmlns:a16="http://schemas.microsoft.com/office/drawing/2014/main" id="{D5FF74F3-FFDD-45BD-92A1-DE5C9D1CE2BB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 bwMode="gray"/>
        <p:txBody>
          <a:bodyPr/>
          <a:lstStyle/>
          <a:p>
            <a:r>
              <a:rPr lang="de-DE"/>
              <a:t>© Heinz Nixdorf Institut / Fraunhofer IEM</a:t>
            </a:r>
          </a:p>
        </p:txBody>
      </p:sp>
      <p:sp>
        <p:nvSpPr>
          <p:cNvPr id="13" name="Strich">
            <a:extLst>
              <a:ext uri="{FF2B5EF4-FFF2-40B4-BE49-F238E27FC236}">
                <a16:creationId xmlns:a16="http://schemas.microsoft.com/office/drawing/2014/main" id="{DB7061D7-7FFE-485E-8A9D-F8DFB5484EDB}"/>
              </a:ext>
            </a:extLst>
          </p:cNvPr>
          <p:cNvSpPr>
            <a:spLocks noGrp="1"/>
          </p:cNvSpPr>
          <p:nvPr>
            <p:ph sz="quarter" idx="38" hasCustomPrompt="1"/>
          </p:nvPr>
        </p:nvSpPr>
        <p:spPr bwMode="gray">
          <a:xfrm>
            <a:off x="941337" y="6426000"/>
            <a:ext cx="10800" cy="216000"/>
          </a:xfrm>
          <a:solidFill>
            <a:schemeClr val="tx1">
              <a:lumMod val="75000"/>
              <a:lumOff val="25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  <a:lvl2pPr marL="266700" indent="0">
              <a:buNone/>
              <a:defRPr/>
            </a:lvl2pPr>
            <a:lvl3pPr marL="542925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3" name="Foliennummernplatzhalter">
            <a:extLst>
              <a:ext uri="{FF2B5EF4-FFF2-40B4-BE49-F238E27FC236}">
                <a16:creationId xmlns:a16="http://schemas.microsoft.com/office/drawing/2014/main" id="{74EF622F-537E-434D-B4DE-2EF8F23040E3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 bwMode="gray"/>
        <p:txBody>
          <a:bodyPr/>
          <a:lstStyle/>
          <a:p>
            <a:fld id="{65685BD5-7F70-499C-8F04-1460C72EE5D6}" type="slidenum">
              <a:rPr lang="de-DE" smtClean="0"/>
              <a:pPr/>
              <a:t>‹#›</a:t>
            </a:fld>
            <a:endParaRPr lang="de-DE"/>
          </a:p>
        </p:txBody>
      </p:sp>
      <p:cxnSp>
        <p:nvCxnSpPr>
          <p:cNvPr id="18" name="Gerader Verbinder">
            <a:extLst>
              <a:ext uri="{FF2B5EF4-FFF2-40B4-BE49-F238E27FC236}">
                <a16:creationId xmlns:a16="http://schemas.microsoft.com/office/drawing/2014/main" id="{915B053B-5F1C-473C-945B-BBF927EDABF2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540000" y="3428998"/>
            <a:ext cx="10044001" cy="0"/>
          </a:xfrm>
          <a:prstGeom prst="line">
            <a:avLst/>
          </a:prstGeom>
          <a:ln w="19050" cap="flat">
            <a:solidFill>
              <a:schemeClr val="bg1">
                <a:lumMod val="75000"/>
              </a:schemeClr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Inhalt 3">
            <a:extLst>
              <a:ext uri="{FF2B5EF4-FFF2-40B4-BE49-F238E27FC236}">
                <a16:creationId xmlns:a16="http://schemas.microsoft.com/office/drawing/2014/main" id="{986FDD29-1884-4141-A863-30D819FF9BDA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 bwMode="gray">
          <a:xfrm>
            <a:off x="8665200" y="4140000"/>
            <a:ext cx="2984400" cy="2069995"/>
          </a:xfrm>
          <a:noFill/>
        </p:spPr>
        <p:txBody>
          <a:bodyPr lIns="0" tIns="216000" rIns="0" bIns="0" anchor="t" anchorCtr="0"/>
          <a:lstStyle>
            <a:lvl1pPr marL="0" indent="0" algn="l">
              <a:buNone/>
              <a:defRPr sz="16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7" name="Textplatzhalter 3">
            <a:extLst>
              <a:ext uri="{FF2B5EF4-FFF2-40B4-BE49-F238E27FC236}">
                <a16:creationId xmlns:a16="http://schemas.microsoft.com/office/drawing/2014/main" id="{F7B3DC85-5677-4FE2-9DA8-07506127C94D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 bwMode="gray">
          <a:xfrm>
            <a:off x="8665200" y="3420000"/>
            <a:ext cx="2984400" cy="720000"/>
          </a:xfrm>
          <a:noFill/>
        </p:spPr>
        <p:txBody>
          <a:bodyPr lIns="0" rIns="0" bIns="0" anchor="b" anchorCtr="0"/>
          <a:lstStyle>
            <a:lvl1pPr marL="0" indent="0" algn="l">
              <a:buNone/>
              <a:defRPr sz="2000" b="1">
                <a:solidFill>
                  <a:schemeClr val="accent1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6" name="Bildplatzhalter 3">
            <a:extLst>
              <a:ext uri="{FF2B5EF4-FFF2-40B4-BE49-F238E27FC236}">
                <a16:creationId xmlns:a16="http://schemas.microsoft.com/office/drawing/2014/main" id="{F57239FD-07EB-4833-9875-0EBC5A403690}"/>
              </a:ext>
            </a:extLst>
          </p:cNvPr>
          <p:cNvSpPr>
            <a:spLocks noGrp="1" noChangeAspect="1"/>
          </p:cNvSpPr>
          <p:nvPr>
            <p:ph type="pic" sz="quarter" idx="46"/>
          </p:nvPr>
        </p:nvSpPr>
        <p:spPr bwMode="gray">
          <a:xfrm>
            <a:off x="8665200" y="1501198"/>
            <a:ext cx="1918801" cy="1918801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25" name="Inhalt 2">
            <a:extLst>
              <a:ext uri="{FF2B5EF4-FFF2-40B4-BE49-F238E27FC236}">
                <a16:creationId xmlns:a16="http://schemas.microsoft.com/office/drawing/2014/main" id="{992600E5-B799-467A-9EBF-190647D1E681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 bwMode="gray">
          <a:xfrm>
            <a:off x="4600800" y="4140000"/>
            <a:ext cx="2984400" cy="2069995"/>
          </a:xfrm>
          <a:noFill/>
        </p:spPr>
        <p:txBody>
          <a:bodyPr lIns="0" tIns="216000" rIns="0" bIns="0" anchor="t" anchorCtr="0"/>
          <a:lstStyle>
            <a:lvl1pPr marL="0" indent="0" algn="l">
              <a:buNone/>
              <a:defRPr sz="16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888B7A3E-2B67-42E8-B53C-B5FC65EB9A39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 bwMode="gray">
          <a:xfrm>
            <a:off x="4600800" y="3420000"/>
            <a:ext cx="2984400" cy="720000"/>
          </a:xfrm>
          <a:noFill/>
        </p:spPr>
        <p:txBody>
          <a:bodyPr lIns="0" rIns="0" bIns="0" anchor="b" anchorCtr="0"/>
          <a:lstStyle>
            <a:lvl1pPr marL="0" indent="0" algn="l">
              <a:buNone/>
              <a:defRPr sz="2000" b="1">
                <a:solidFill>
                  <a:schemeClr val="accent1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6" name="Bildplatzhalter 2">
            <a:extLst>
              <a:ext uri="{FF2B5EF4-FFF2-40B4-BE49-F238E27FC236}">
                <a16:creationId xmlns:a16="http://schemas.microsoft.com/office/drawing/2014/main" id="{35674AB5-495C-4CC5-A7B3-6547D55F1997}"/>
              </a:ext>
            </a:extLst>
          </p:cNvPr>
          <p:cNvSpPr>
            <a:spLocks noGrp="1" noChangeAspect="1"/>
          </p:cNvSpPr>
          <p:nvPr>
            <p:ph type="pic" sz="quarter" idx="43"/>
          </p:nvPr>
        </p:nvSpPr>
        <p:spPr bwMode="gray">
          <a:xfrm>
            <a:off x="4600800" y="1501198"/>
            <a:ext cx="1918801" cy="1918801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14" name="Inhalt 1">
            <a:extLst>
              <a:ext uri="{FF2B5EF4-FFF2-40B4-BE49-F238E27FC236}">
                <a16:creationId xmlns:a16="http://schemas.microsoft.com/office/drawing/2014/main" id="{581F6FA7-0AE1-4F6E-A251-5BC1A0FFEA93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 bwMode="gray">
          <a:xfrm>
            <a:off x="540000" y="4140000"/>
            <a:ext cx="2984400" cy="2069995"/>
          </a:xfrm>
          <a:noFill/>
        </p:spPr>
        <p:txBody>
          <a:bodyPr lIns="0" tIns="216000" rIns="0" bIns="0" anchor="t" anchorCtr="0"/>
          <a:lstStyle>
            <a:lvl1pPr marL="0" indent="0" algn="l">
              <a:buNone/>
              <a:defRPr sz="16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0" name="Textplatzhalter 1">
            <a:extLst>
              <a:ext uri="{FF2B5EF4-FFF2-40B4-BE49-F238E27FC236}">
                <a16:creationId xmlns:a16="http://schemas.microsoft.com/office/drawing/2014/main" id="{29E51732-658E-4A26-BD73-DE2B6D3E31DE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 bwMode="gray">
          <a:xfrm>
            <a:off x="540000" y="3420000"/>
            <a:ext cx="2984400" cy="720000"/>
          </a:xfrm>
          <a:noFill/>
        </p:spPr>
        <p:txBody>
          <a:bodyPr lIns="0" rIns="0" bIns="0" anchor="b" anchorCtr="0"/>
          <a:lstStyle>
            <a:lvl1pPr marL="0" indent="0" algn="l">
              <a:buNone/>
              <a:defRPr sz="2000" b="1">
                <a:solidFill>
                  <a:schemeClr val="accent1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9" name="Bildplatzhalter 1">
            <a:extLst>
              <a:ext uri="{FF2B5EF4-FFF2-40B4-BE49-F238E27FC236}">
                <a16:creationId xmlns:a16="http://schemas.microsoft.com/office/drawing/2014/main" id="{7C2948A9-2F6C-4038-BCFD-F7BDD17510CB}"/>
              </a:ext>
            </a:extLst>
          </p:cNvPr>
          <p:cNvSpPr>
            <a:spLocks noGrp="1" noChangeAspect="1"/>
          </p:cNvSpPr>
          <p:nvPr>
            <p:ph type="pic" sz="quarter" idx="40"/>
          </p:nvPr>
        </p:nvSpPr>
        <p:spPr bwMode="gray">
          <a:xfrm>
            <a:off x="540000" y="1501198"/>
            <a:ext cx="1918801" cy="1918801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5" name="Titel">
            <a:extLst>
              <a:ext uri="{FF2B5EF4-FFF2-40B4-BE49-F238E27FC236}">
                <a16:creationId xmlns:a16="http://schemas.microsoft.com/office/drawing/2014/main" id="{08A0E3B8-B859-4BA6-8F0F-6A0CBE90B29D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40000" y="432000"/>
            <a:ext cx="11109600" cy="792000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229916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 ganz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0413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6134959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78263" y="1590683"/>
            <a:ext cx="11012006" cy="4430713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itel 1"/>
          <p:cNvSpPr>
            <a:spLocks noGrp="1"/>
          </p:cNvSpPr>
          <p:nvPr>
            <p:ph type="title"/>
          </p:nvPr>
        </p:nvSpPr>
        <p:spPr>
          <a:xfrm>
            <a:off x="578264" y="334799"/>
            <a:ext cx="11021383" cy="1255875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36465741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78263" y="476823"/>
            <a:ext cx="11021384" cy="1007908"/>
          </a:xfrm>
        </p:spPr>
        <p:txBody>
          <a:bodyPr/>
          <a:lstStyle>
            <a:lvl1pPr marL="0" indent="0">
              <a:defRPr sz="3200" cap="all" baseline="0"/>
            </a:lvl1pPr>
          </a:lstStyle>
          <a:p>
            <a:pPr lvl="0"/>
            <a:r>
              <a:rPr lang="de-DE" noProof="0"/>
              <a:t>Titelmasterformat durch Klicken bearbeiten</a:t>
            </a:r>
          </a:p>
        </p:txBody>
      </p:sp>
      <p:sp>
        <p:nvSpPr>
          <p:cNvPr id="6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578264" y="1773238"/>
            <a:ext cx="11037794" cy="4238942"/>
          </a:xfrm>
        </p:spPr>
        <p:txBody>
          <a:bodyPr/>
          <a:lstStyle>
            <a:lvl1pPr marL="360000" indent="-360000">
              <a:buFont typeface="+mj-lt"/>
              <a:buAutoNum type="arabicPeriod"/>
              <a:defRPr/>
            </a:lvl1pPr>
            <a:lvl2pPr marL="720000" indent="-360000">
              <a:buFont typeface="+mj-lt"/>
              <a:buAutoNum type="arabicPeriod"/>
              <a:defRPr/>
            </a:lvl2pPr>
            <a:lvl3pPr marL="1080000">
              <a:buFont typeface="+mj-lt"/>
              <a:buAutoNum type="arabicPeriod"/>
              <a:defRPr/>
            </a:lvl3pPr>
            <a:lvl4pPr marL="1440000">
              <a:buFont typeface="+mj-lt"/>
              <a:buAutoNum type="arabicPeriod"/>
              <a:defRPr/>
            </a:lvl4pPr>
            <a:lvl5pPr marL="1800000" indent="-360000">
              <a:buFont typeface="+mj-lt"/>
              <a:buAutoNum type="arabicPeriod"/>
              <a:defRPr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Line 7"/>
          <p:cNvSpPr>
            <a:spLocks noChangeShapeType="1"/>
          </p:cNvSpPr>
          <p:nvPr userDrawn="1"/>
        </p:nvSpPr>
        <p:spPr bwMode="auto">
          <a:xfrm flipV="1">
            <a:off x="575925" y="404580"/>
            <a:ext cx="11036225" cy="0"/>
          </a:xfrm>
          <a:prstGeom prst="line">
            <a:avLst/>
          </a:prstGeom>
          <a:noFill/>
          <a:ln w="5080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800"/>
          </a:p>
        </p:txBody>
      </p:sp>
      <p:sp>
        <p:nvSpPr>
          <p:cNvPr id="9" name="Line 8"/>
          <p:cNvSpPr>
            <a:spLocks noChangeShapeType="1"/>
          </p:cNvSpPr>
          <p:nvPr userDrawn="1"/>
        </p:nvSpPr>
        <p:spPr bwMode="auto">
          <a:xfrm>
            <a:off x="575925" y="1558800"/>
            <a:ext cx="11035609" cy="0"/>
          </a:xfrm>
          <a:prstGeom prst="line">
            <a:avLst/>
          </a:prstGeom>
          <a:noFill/>
          <a:ln w="1270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800"/>
          </a:p>
        </p:txBody>
      </p:sp>
    </p:spTree>
    <p:extLst>
      <p:ext uri="{BB962C8B-B14F-4D97-AF65-F5344CB8AC3E}">
        <p14:creationId xmlns:p14="http://schemas.microsoft.com/office/powerpoint/2010/main" val="329344620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eere 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78264" y="334799"/>
            <a:ext cx="11021383" cy="1255875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411736469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Inhalt 2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78264" y="1590683"/>
            <a:ext cx="5205288" cy="442149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Inhaltsplatzhalter 2"/>
          <p:cNvSpPr>
            <a:spLocks noGrp="1"/>
          </p:cNvSpPr>
          <p:nvPr>
            <p:ph idx="10"/>
          </p:nvPr>
        </p:nvSpPr>
        <p:spPr>
          <a:xfrm>
            <a:off x="6406869" y="1590682"/>
            <a:ext cx="5205476" cy="4421498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578263" y="334799"/>
            <a:ext cx="11021384" cy="1255875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26257894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78263" y="1589089"/>
            <a:ext cx="11012006" cy="44323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itel 1"/>
          <p:cNvSpPr>
            <a:spLocks noGrp="1"/>
          </p:cNvSpPr>
          <p:nvPr>
            <p:ph type="title"/>
          </p:nvPr>
        </p:nvSpPr>
        <p:spPr>
          <a:xfrm>
            <a:off x="578263" y="334800"/>
            <a:ext cx="11021384" cy="1254289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956978726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7"/>
          <p:cNvSpPr>
            <a:spLocks noChangeShapeType="1"/>
          </p:cNvSpPr>
          <p:nvPr/>
        </p:nvSpPr>
        <p:spPr bwMode="auto">
          <a:xfrm flipV="1">
            <a:off x="575925" y="404580"/>
            <a:ext cx="11036225" cy="0"/>
          </a:xfrm>
          <a:prstGeom prst="line">
            <a:avLst/>
          </a:prstGeom>
          <a:noFill/>
          <a:ln w="5080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800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78264" y="1773238"/>
            <a:ext cx="11021383" cy="64762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Formatvorlage des Untertitelmasters durch Klicken bearbeiten</a:t>
            </a:r>
          </a:p>
        </p:txBody>
      </p:sp>
      <p:sp>
        <p:nvSpPr>
          <p:cNvPr id="5" name="Bildplatzhalter 2"/>
          <p:cNvSpPr>
            <a:spLocks noGrp="1"/>
          </p:cNvSpPr>
          <p:nvPr>
            <p:ph type="pic" sz="quarter" idx="10"/>
          </p:nvPr>
        </p:nvSpPr>
        <p:spPr>
          <a:xfrm>
            <a:off x="578264" y="2636890"/>
            <a:ext cx="11021383" cy="3384470"/>
          </a:xfr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78264" y="476823"/>
            <a:ext cx="11021383" cy="1008140"/>
          </a:xfrm>
          <a:noFill/>
        </p:spPr>
        <p:txBody>
          <a:bodyPr/>
          <a:lstStyle>
            <a:lvl1pPr marL="0" indent="0">
              <a:defRPr sz="3200" cap="all" baseline="0"/>
            </a:lvl1pPr>
          </a:lstStyle>
          <a:p>
            <a:pPr lvl="0"/>
            <a:r>
              <a:rPr lang="de-DE" noProof="0"/>
              <a:t>Titelmasterformat durch Klicken bearbeiten</a:t>
            </a:r>
          </a:p>
        </p:txBody>
      </p:sp>
      <p:sp>
        <p:nvSpPr>
          <p:cNvPr id="9" name="Line 7"/>
          <p:cNvSpPr>
            <a:spLocks noChangeShapeType="1"/>
          </p:cNvSpPr>
          <p:nvPr/>
        </p:nvSpPr>
        <p:spPr bwMode="auto">
          <a:xfrm flipV="1">
            <a:off x="575925" y="2492870"/>
            <a:ext cx="11036225" cy="0"/>
          </a:xfrm>
          <a:prstGeom prst="line">
            <a:avLst/>
          </a:prstGeom>
          <a:noFill/>
          <a:ln w="1270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800"/>
          </a:p>
        </p:txBody>
      </p:sp>
    </p:spTree>
    <p:extLst>
      <p:ext uri="{BB962C8B-B14F-4D97-AF65-F5344CB8AC3E}">
        <p14:creationId xmlns:p14="http://schemas.microsoft.com/office/powerpoint/2010/main" val="2790454295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 mi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78264" y="476823"/>
            <a:ext cx="11021383" cy="1008140"/>
          </a:xfrm>
          <a:noFill/>
        </p:spPr>
        <p:txBody>
          <a:bodyPr/>
          <a:lstStyle>
            <a:lvl1pPr marL="0" indent="0">
              <a:defRPr sz="3200" cap="all" baseline="0"/>
            </a:lvl1pPr>
          </a:lstStyle>
          <a:p>
            <a:pPr lvl="0"/>
            <a:r>
              <a:rPr lang="de-DE" noProof="0"/>
              <a:t>Titelmasterformat durch Klicken bearbeiten</a:t>
            </a:r>
          </a:p>
        </p:txBody>
      </p:sp>
      <p:sp>
        <p:nvSpPr>
          <p:cNvPr id="10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78264" y="1773238"/>
            <a:ext cx="11021383" cy="64762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Formatvorlage des Untertitelmasters durch Klicken bearbeiten</a:t>
            </a:r>
          </a:p>
        </p:txBody>
      </p:sp>
      <p:sp>
        <p:nvSpPr>
          <p:cNvPr id="14" name="Line 7"/>
          <p:cNvSpPr>
            <a:spLocks noChangeShapeType="1"/>
          </p:cNvSpPr>
          <p:nvPr/>
        </p:nvSpPr>
        <p:spPr bwMode="auto">
          <a:xfrm flipV="1">
            <a:off x="575925" y="404580"/>
            <a:ext cx="11036225" cy="0"/>
          </a:xfrm>
          <a:prstGeom prst="line">
            <a:avLst/>
          </a:prstGeom>
          <a:noFill/>
          <a:ln w="5080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800"/>
          </a:p>
        </p:txBody>
      </p:sp>
      <p:sp>
        <p:nvSpPr>
          <p:cNvPr id="15" name="Line 7"/>
          <p:cNvSpPr>
            <a:spLocks noChangeShapeType="1"/>
          </p:cNvSpPr>
          <p:nvPr/>
        </p:nvSpPr>
        <p:spPr bwMode="auto">
          <a:xfrm flipV="1">
            <a:off x="575925" y="2492870"/>
            <a:ext cx="11036225" cy="0"/>
          </a:xfrm>
          <a:prstGeom prst="line">
            <a:avLst/>
          </a:prstGeom>
          <a:noFill/>
          <a:ln w="1270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800"/>
          </a:p>
        </p:txBody>
      </p:sp>
      <p:sp>
        <p:nvSpPr>
          <p:cNvPr id="17" name="Text Box 8"/>
          <p:cNvSpPr txBox="1">
            <a:spLocks noChangeArrowheads="1"/>
          </p:cNvSpPr>
          <p:nvPr/>
        </p:nvSpPr>
        <p:spPr bwMode="auto">
          <a:xfrm>
            <a:off x="562635" y="6453422"/>
            <a:ext cx="385583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>
              <a:spcBef>
                <a:spcPts val="0"/>
              </a:spcBef>
              <a:spcAft>
                <a:spcPct val="0"/>
              </a:spcAft>
              <a:buFontTx/>
              <a:buNone/>
            </a:pPr>
            <a:r>
              <a:rPr lang="de-DE" sz="800">
                <a:solidFill>
                  <a:schemeClr val="bg2"/>
                </a:solidFill>
              </a:rPr>
              <a:t>© Fraunhofer IEM / Heinz Nixdorf Institut</a:t>
            </a:r>
          </a:p>
          <a:p>
            <a:pPr>
              <a:spcBef>
                <a:spcPts val="0"/>
              </a:spcBef>
              <a:spcAft>
                <a:spcPct val="0"/>
              </a:spcAft>
              <a:buFontTx/>
              <a:buNone/>
            </a:pPr>
            <a:r>
              <a:rPr lang="de-DE" sz="800">
                <a:solidFill>
                  <a:schemeClr val="bg2"/>
                </a:solidFill>
              </a:rPr>
              <a:t>Folie </a:t>
            </a:r>
            <a:fld id="{465E0D68-ABFE-4BAD-A58E-05251C14C1FA}" type="slidenum">
              <a:rPr lang="de-DE" sz="800" smtClean="0">
                <a:solidFill>
                  <a:schemeClr val="bg2"/>
                </a:solidFill>
              </a:rPr>
              <a:pPr>
                <a:spcBef>
                  <a:spcPts val="0"/>
                </a:spcBef>
                <a:spcAft>
                  <a:spcPct val="0"/>
                </a:spcAft>
                <a:buFontTx/>
                <a:buNone/>
              </a:pPr>
              <a:t>‹#›</a:t>
            </a:fld>
            <a:r>
              <a:rPr lang="de-DE" sz="800">
                <a:solidFill>
                  <a:schemeClr val="bg2"/>
                </a:solidFill>
              </a:rPr>
              <a:t> </a:t>
            </a:r>
          </a:p>
        </p:txBody>
      </p:sp>
      <p:sp>
        <p:nvSpPr>
          <p:cNvPr id="18" name="Line 7"/>
          <p:cNvSpPr>
            <a:spLocks noChangeShapeType="1"/>
          </p:cNvSpPr>
          <p:nvPr/>
        </p:nvSpPr>
        <p:spPr bwMode="auto">
          <a:xfrm flipV="1">
            <a:off x="575925" y="6165380"/>
            <a:ext cx="11036225" cy="0"/>
          </a:xfrm>
          <a:prstGeom prst="line">
            <a:avLst/>
          </a:prstGeom>
          <a:noFill/>
          <a:ln w="3175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800"/>
          </a:p>
        </p:txBody>
      </p:sp>
      <p:pic>
        <p:nvPicPr>
          <p:cNvPr id="59" name="Grafik 5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23249" y="6300000"/>
            <a:ext cx="1884097" cy="419960"/>
          </a:xfrm>
          <a:prstGeom prst="rect">
            <a:avLst/>
          </a:prstGeom>
        </p:spPr>
      </p:pic>
      <p:pic>
        <p:nvPicPr>
          <p:cNvPr id="60" name="Grafik 5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4491" y="6385933"/>
            <a:ext cx="1949284" cy="248094"/>
          </a:xfrm>
          <a:prstGeom prst="rect">
            <a:avLst/>
          </a:prstGeom>
        </p:spPr>
      </p:pic>
      <p:pic>
        <p:nvPicPr>
          <p:cNvPr id="104" name="Grafik 1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237632" y="3894138"/>
            <a:ext cx="5719057" cy="1274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56216179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78264" y="476823"/>
            <a:ext cx="11021383" cy="1007908"/>
          </a:xfrm>
        </p:spPr>
        <p:txBody>
          <a:bodyPr/>
          <a:lstStyle>
            <a:lvl1pPr marL="0" indent="0">
              <a:defRPr sz="3200" cap="all" baseline="0"/>
            </a:lvl1pPr>
          </a:lstStyle>
          <a:p>
            <a:pPr lvl="0"/>
            <a:r>
              <a:rPr lang="de-DE" noProof="0"/>
              <a:t>Titelmasterformat durch Klicken bearbeiten</a:t>
            </a:r>
          </a:p>
        </p:txBody>
      </p:sp>
      <p:sp>
        <p:nvSpPr>
          <p:cNvPr id="6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578264" y="1773238"/>
            <a:ext cx="11037794" cy="4238942"/>
          </a:xfrm>
        </p:spPr>
        <p:txBody>
          <a:bodyPr/>
          <a:lstStyle>
            <a:lvl1pPr marL="359964" indent="-359964">
              <a:buFont typeface="+mj-lt"/>
              <a:buAutoNum type="arabicPeriod"/>
              <a:defRPr/>
            </a:lvl1pPr>
            <a:lvl2pPr marL="719928" indent="-359964">
              <a:buFont typeface="+mj-lt"/>
              <a:buAutoNum type="arabicPeriod"/>
              <a:defRPr/>
            </a:lvl2pPr>
            <a:lvl3pPr marL="1079892">
              <a:buFont typeface="+mj-lt"/>
              <a:buAutoNum type="arabicPeriod"/>
              <a:defRPr/>
            </a:lvl3pPr>
            <a:lvl4pPr marL="1439856">
              <a:buFont typeface="+mj-lt"/>
              <a:buAutoNum type="arabicPeriod"/>
              <a:defRPr/>
            </a:lvl4pPr>
            <a:lvl5pPr marL="1799820" indent="-359964">
              <a:buFont typeface="+mj-lt"/>
              <a:buAutoNum type="arabicPeriod"/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Line 7"/>
          <p:cNvSpPr>
            <a:spLocks noChangeShapeType="1"/>
          </p:cNvSpPr>
          <p:nvPr/>
        </p:nvSpPr>
        <p:spPr bwMode="auto">
          <a:xfrm flipV="1">
            <a:off x="575925" y="404580"/>
            <a:ext cx="11036225" cy="0"/>
          </a:xfrm>
          <a:prstGeom prst="line">
            <a:avLst/>
          </a:prstGeom>
          <a:noFill/>
          <a:ln w="5080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800"/>
          </a:p>
        </p:txBody>
      </p:sp>
      <p:sp>
        <p:nvSpPr>
          <p:cNvPr id="9" name="Line 8"/>
          <p:cNvSpPr>
            <a:spLocks noChangeShapeType="1"/>
          </p:cNvSpPr>
          <p:nvPr/>
        </p:nvSpPr>
        <p:spPr bwMode="auto">
          <a:xfrm>
            <a:off x="575925" y="1558800"/>
            <a:ext cx="11035609" cy="0"/>
          </a:xfrm>
          <a:prstGeom prst="line">
            <a:avLst/>
          </a:prstGeom>
          <a:noFill/>
          <a:ln w="1270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800"/>
          </a:p>
        </p:txBody>
      </p:sp>
    </p:spTree>
    <p:extLst>
      <p:ext uri="{BB962C8B-B14F-4D97-AF65-F5344CB8AC3E}">
        <p14:creationId xmlns:p14="http://schemas.microsoft.com/office/powerpoint/2010/main" val="3482975511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78263" y="1590683"/>
            <a:ext cx="11012006" cy="4430713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itel 1"/>
          <p:cNvSpPr>
            <a:spLocks noGrp="1"/>
          </p:cNvSpPr>
          <p:nvPr>
            <p:ph type="title"/>
          </p:nvPr>
        </p:nvSpPr>
        <p:spPr>
          <a:xfrm>
            <a:off x="578264" y="334799"/>
            <a:ext cx="11021383" cy="1255875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268945415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 2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78264" y="1590684"/>
            <a:ext cx="5205288" cy="442149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Inhaltsplatzhalter 2"/>
          <p:cNvSpPr>
            <a:spLocks noGrp="1"/>
          </p:cNvSpPr>
          <p:nvPr>
            <p:ph idx="10"/>
          </p:nvPr>
        </p:nvSpPr>
        <p:spPr>
          <a:xfrm>
            <a:off x="6406869" y="1590682"/>
            <a:ext cx="5205476" cy="4421498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578264" y="334799"/>
            <a:ext cx="11021383" cy="1255875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682724722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 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2"/>
          <p:cNvSpPr>
            <a:spLocks noGrp="1"/>
          </p:cNvSpPr>
          <p:nvPr>
            <p:ph idx="10"/>
          </p:nvPr>
        </p:nvSpPr>
        <p:spPr>
          <a:xfrm>
            <a:off x="4876180" y="1590683"/>
            <a:ext cx="6723468" cy="4430713"/>
          </a:xfrm>
        </p:spPr>
        <p:txBody>
          <a:bodyPr/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Bildplatzhalter 2"/>
          <p:cNvSpPr>
            <a:spLocks noGrp="1"/>
          </p:cNvSpPr>
          <p:nvPr>
            <p:ph type="pic" sz="quarter" idx="11"/>
          </p:nvPr>
        </p:nvSpPr>
        <p:spPr>
          <a:xfrm>
            <a:off x="578265" y="1590683"/>
            <a:ext cx="3678187" cy="4430713"/>
          </a:xfr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578264" y="334799"/>
            <a:ext cx="11021383" cy="1255875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803565845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ere 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78264" y="334799"/>
            <a:ext cx="11021383" cy="1255875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09559379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78263" y="1590683"/>
            <a:ext cx="11012006" cy="4430713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itel 1"/>
          <p:cNvSpPr>
            <a:spLocks noGrp="1"/>
          </p:cNvSpPr>
          <p:nvPr>
            <p:ph type="title"/>
          </p:nvPr>
        </p:nvSpPr>
        <p:spPr>
          <a:xfrm>
            <a:off x="578263" y="334799"/>
            <a:ext cx="11021384" cy="1255875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11630006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2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78264" y="1590683"/>
            <a:ext cx="5205288" cy="442149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Inhaltsplatzhalter 2"/>
          <p:cNvSpPr>
            <a:spLocks noGrp="1"/>
          </p:cNvSpPr>
          <p:nvPr>
            <p:ph idx="10"/>
          </p:nvPr>
        </p:nvSpPr>
        <p:spPr>
          <a:xfrm>
            <a:off x="6406869" y="1590682"/>
            <a:ext cx="5205476" cy="4421498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578263" y="334799"/>
            <a:ext cx="11021384" cy="1255875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82820788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image" Target="../media/image3.wmf"/><Relationship Id="rId5" Type="http://schemas.openxmlformats.org/officeDocument/2006/relationships/slideLayout" Target="../slideLayouts/slideLayout9.xml"/><Relationship Id="rId10" Type="http://schemas.openxmlformats.org/officeDocument/2006/relationships/image" Target="../media/image2.jpeg"/><Relationship Id="rId4" Type="http://schemas.openxmlformats.org/officeDocument/2006/relationships/slideLayout" Target="../slideLayouts/slideLayout8.xml"/><Relationship Id="rId9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15.xml"/><Relationship Id="rId21" Type="http://schemas.openxmlformats.org/officeDocument/2006/relationships/slideLayout" Target="../slideLayouts/slideLayout33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9.xml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20" Type="http://schemas.openxmlformats.org/officeDocument/2006/relationships/slideLayout" Target="../slideLayouts/slideLayout32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23" Type="http://schemas.openxmlformats.org/officeDocument/2006/relationships/image" Target="../media/image4.jpeg"/><Relationship Id="rId10" Type="http://schemas.openxmlformats.org/officeDocument/2006/relationships/slideLayout" Target="../slideLayouts/slideLayout22.xml"/><Relationship Id="rId19" Type="http://schemas.openxmlformats.org/officeDocument/2006/relationships/slideLayout" Target="../slideLayouts/slideLayout31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Relationship Id="rId22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8.xml"/><Relationship Id="rId10" Type="http://schemas.openxmlformats.org/officeDocument/2006/relationships/image" Target="../media/image3.wmf"/><Relationship Id="rId4" Type="http://schemas.openxmlformats.org/officeDocument/2006/relationships/slideLayout" Target="../slideLayouts/slideLayout37.xml"/><Relationship Id="rId9" Type="http://schemas.openxmlformats.org/officeDocument/2006/relationships/image" Target="../media/image2.jpeg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3.xml"/><Relationship Id="rId18" Type="http://schemas.openxmlformats.org/officeDocument/2006/relationships/slideLayout" Target="../slideLayouts/slideLayout58.xml"/><Relationship Id="rId26" Type="http://schemas.openxmlformats.org/officeDocument/2006/relationships/slideLayout" Target="../slideLayouts/slideLayout66.xml"/><Relationship Id="rId3" Type="http://schemas.openxmlformats.org/officeDocument/2006/relationships/slideLayout" Target="../slideLayouts/slideLayout43.xml"/><Relationship Id="rId21" Type="http://schemas.openxmlformats.org/officeDocument/2006/relationships/slideLayout" Target="../slideLayouts/slideLayout61.xml"/><Relationship Id="rId34" Type="http://schemas.openxmlformats.org/officeDocument/2006/relationships/image" Target="../media/image11.png"/><Relationship Id="rId7" Type="http://schemas.openxmlformats.org/officeDocument/2006/relationships/slideLayout" Target="../slideLayouts/slideLayout47.xml"/><Relationship Id="rId12" Type="http://schemas.openxmlformats.org/officeDocument/2006/relationships/slideLayout" Target="../slideLayouts/slideLayout52.xml"/><Relationship Id="rId17" Type="http://schemas.openxmlformats.org/officeDocument/2006/relationships/slideLayout" Target="../slideLayouts/slideLayout57.xml"/><Relationship Id="rId25" Type="http://schemas.openxmlformats.org/officeDocument/2006/relationships/slideLayout" Target="../slideLayouts/slideLayout65.xml"/><Relationship Id="rId33" Type="http://schemas.openxmlformats.org/officeDocument/2006/relationships/theme" Target="../theme/theme5.xml"/><Relationship Id="rId2" Type="http://schemas.openxmlformats.org/officeDocument/2006/relationships/slideLayout" Target="../slideLayouts/slideLayout42.xml"/><Relationship Id="rId16" Type="http://schemas.openxmlformats.org/officeDocument/2006/relationships/slideLayout" Target="../slideLayouts/slideLayout56.xml"/><Relationship Id="rId20" Type="http://schemas.openxmlformats.org/officeDocument/2006/relationships/slideLayout" Target="../slideLayouts/slideLayout60.xml"/><Relationship Id="rId29" Type="http://schemas.openxmlformats.org/officeDocument/2006/relationships/slideLayout" Target="../slideLayouts/slideLayout69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24" Type="http://schemas.openxmlformats.org/officeDocument/2006/relationships/slideLayout" Target="../slideLayouts/slideLayout64.xml"/><Relationship Id="rId32" Type="http://schemas.openxmlformats.org/officeDocument/2006/relationships/slideLayout" Target="../slideLayouts/slideLayout72.xml"/><Relationship Id="rId5" Type="http://schemas.openxmlformats.org/officeDocument/2006/relationships/slideLayout" Target="../slideLayouts/slideLayout45.xml"/><Relationship Id="rId15" Type="http://schemas.openxmlformats.org/officeDocument/2006/relationships/slideLayout" Target="../slideLayouts/slideLayout55.xml"/><Relationship Id="rId23" Type="http://schemas.openxmlformats.org/officeDocument/2006/relationships/slideLayout" Target="../slideLayouts/slideLayout63.xml"/><Relationship Id="rId28" Type="http://schemas.openxmlformats.org/officeDocument/2006/relationships/slideLayout" Target="../slideLayouts/slideLayout68.xml"/><Relationship Id="rId10" Type="http://schemas.openxmlformats.org/officeDocument/2006/relationships/slideLayout" Target="../slideLayouts/slideLayout50.xml"/><Relationship Id="rId19" Type="http://schemas.openxmlformats.org/officeDocument/2006/relationships/slideLayout" Target="../slideLayouts/slideLayout59.xml"/><Relationship Id="rId31" Type="http://schemas.openxmlformats.org/officeDocument/2006/relationships/slideLayout" Target="../slideLayouts/slideLayout71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Relationship Id="rId14" Type="http://schemas.openxmlformats.org/officeDocument/2006/relationships/slideLayout" Target="../slideLayouts/slideLayout54.xml"/><Relationship Id="rId22" Type="http://schemas.openxmlformats.org/officeDocument/2006/relationships/slideLayout" Target="../slideLayouts/slideLayout62.xml"/><Relationship Id="rId27" Type="http://schemas.openxmlformats.org/officeDocument/2006/relationships/slideLayout" Target="../slideLayouts/slideLayout67.xml"/><Relationship Id="rId30" Type="http://schemas.openxmlformats.org/officeDocument/2006/relationships/slideLayout" Target="../slideLayouts/slideLayout70.xml"/><Relationship Id="rId35" Type="http://schemas.openxmlformats.org/officeDocument/2006/relationships/image" Target="../media/image12.png"/><Relationship Id="rId8" Type="http://schemas.openxmlformats.org/officeDocument/2006/relationships/slideLayout" Target="../slideLayouts/slideLayout48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heme" Target="../theme/theme6.xml"/><Relationship Id="rId3" Type="http://schemas.openxmlformats.org/officeDocument/2006/relationships/slideLayout" Target="../slideLayouts/slideLayout75.xml"/><Relationship Id="rId7" Type="http://schemas.openxmlformats.org/officeDocument/2006/relationships/slideLayout" Target="../slideLayouts/slideLayout79.xml"/><Relationship Id="rId2" Type="http://schemas.openxmlformats.org/officeDocument/2006/relationships/slideLayout" Target="../slideLayouts/slideLayout74.x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5" Type="http://schemas.openxmlformats.org/officeDocument/2006/relationships/slideLayout" Target="../slideLayouts/slideLayout77.xml"/><Relationship Id="rId10" Type="http://schemas.openxmlformats.org/officeDocument/2006/relationships/image" Target="../media/image3.wmf"/><Relationship Id="rId4" Type="http://schemas.openxmlformats.org/officeDocument/2006/relationships/slideLayout" Target="../slideLayouts/slideLayout76.xml"/><Relationship Id="rId9" Type="http://schemas.openxmlformats.org/officeDocument/2006/relationships/image" Target="../media/image15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 bwMode="gray">
          <a:xfrm>
            <a:off x="540000" y="432000"/>
            <a:ext cx="11109600" cy="90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3" name="Inhalt"/>
          <p:cNvSpPr>
            <a:spLocks noGrp="1"/>
          </p:cNvSpPr>
          <p:nvPr>
            <p:ph type="body" idx="1"/>
          </p:nvPr>
        </p:nvSpPr>
        <p:spPr bwMode="gray">
          <a:xfrm>
            <a:off x="540000" y="1512000"/>
            <a:ext cx="11109600" cy="448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cxnSp>
        <p:nvCxnSpPr>
          <p:cNvPr id="5" name="Gerader Verbinder 4">
            <a:extLst>
              <a:ext uri="{FF2B5EF4-FFF2-40B4-BE49-F238E27FC236}">
                <a16:creationId xmlns:a16="http://schemas.microsoft.com/office/drawing/2014/main" id="{B347BCE9-02D6-45D7-A91B-7350FA2AA452}"/>
              </a:ext>
            </a:extLst>
          </p:cNvPr>
          <p:cNvCxnSpPr/>
          <p:nvPr userDrawn="1"/>
        </p:nvCxnSpPr>
        <p:spPr bwMode="gray">
          <a:xfrm>
            <a:off x="1080000" y="6354000"/>
            <a:ext cx="0" cy="216000"/>
          </a:xfrm>
          <a:prstGeom prst="line">
            <a:avLst/>
          </a:prstGeom>
          <a:ln w="12700" cap="flat">
            <a:solidFill>
              <a:schemeClr val="accent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liennummernplatzhalter">
            <a:extLst>
              <a:ext uri="{FF2B5EF4-FFF2-40B4-BE49-F238E27FC236}">
                <a16:creationId xmlns:a16="http://schemas.microsoft.com/office/drawing/2014/main" id="{E28E488F-FCD4-47B5-B841-6A77C6A0C0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40000" y="6318000"/>
            <a:ext cx="360000" cy="288000"/>
          </a:xfrm>
          <a:prstGeom prst="rect">
            <a:avLst/>
          </a:prstGeom>
          <a:ln w="12700" cap="sq">
            <a:noFill/>
            <a:miter lim="800000"/>
          </a:ln>
        </p:spPr>
        <p:txBody>
          <a:bodyPr vert="horz" lIns="0" tIns="0" rIns="0" bIns="0" rtlCol="0" anchor="ctr" anchorCtr="0"/>
          <a:lstStyle>
            <a:lvl1pPr>
              <a:defRPr lang="de-DE" sz="1600" smtClean="0">
                <a:solidFill>
                  <a:schemeClr val="accent1"/>
                </a:solidFill>
              </a:defRPr>
            </a:lvl1pPr>
          </a:lstStyle>
          <a:p>
            <a:fld id="{B36614E7-DD24-4A03-99F5-3A9F8BBCCC0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Fußzeile">
            <a:extLst>
              <a:ext uri="{FF2B5EF4-FFF2-40B4-BE49-F238E27FC236}">
                <a16:creationId xmlns:a16="http://schemas.microsoft.com/office/drawing/2014/main" id="{BEDE8662-1FA8-481A-8C9C-5BEFFFDCED4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1260000" y="6318000"/>
            <a:ext cx="4832138" cy="288000"/>
          </a:xfrm>
          <a:prstGeom prst="rect">
            <a:avLst/>
          </a:prstGeom>
        </p:spPr>
        <p:txBody>
          <a:bodyPr vert="horz" lIns="108000" tIns="0" rIns="0" bIns="0" rtlCol="0" anchor="ctr" anchorCtr="0"/>
          <a:lstStyle>
            <a:lvl1pPr algn="l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e-DE"/>
              <a:t>© Fraunhofer IEM / Heinz Nixdorf Institut</a:t>
            </a:r>
          </a:p>
        </p:txBody>
      </p:sp>
      <p:grpSp>
        <p:nvGrpSpPr>
          <p:cNvPr id="8" name="Logo">
            <a:extLst>
              <a:ext uri="{FF2B5EF4-FFF2-40B4-BE49-F238E27FC236}">
                <a16:creationId xmlns:a16="http://schemas.microsoft.com/office/drawing/2014/main" id="{0358EA12-45FF-4546-BE05-ABCF1149CC88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10220791" y="6267600"/>
            <a:ext cx="1428809" cy="388800"/>
            <a:chOff x="8928370" y="5202000"/>
            <a:chExt cx="1767154" cy="480869"/>
          </a:xfrm>
        </p:grpSpPr>
        <p:sp>
          <p:nvSpPr>
            <p:cNvPr id="9" name="Freihandform: Form 8">
              <a:extLst>
                <a:ext uri="{FF2B5EF4-FFF2-40B4-BE49-F238E27FC236}">
                  <a16:creationId xmlns:a16="http://schemas.microsoft.com/office/drawing/2014/main" id="{32A74A1D-0B1B-4613-8F85-4A09117B6550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928370" y="5287269"/>
              <a:ext cx="284229" cy="200121"/>
            </a:xfrm>
            <a:custGeom>
              <a:avLst/>
              <a:gdLst>
                <a:gd name="connsiteX0" fmla="*/ 0 w 933450"/>
                <a:gd name="connsiteY0" fmla="*/ 665798 h 657225"/>
                <a:gd name="connsiteX1" fmla="*/ 941070 w 933450"/>
                <a:gd name="connsiteY1" fmla="*/ 91440 h 657225"/>
                <a:gd name="connsiteX2" fmla="*/ 941070 w 933450"/>
                <a:gd name="connsiteY2" fmla="*/ 0 h 657225"/>
                <a:gd name="connsiteX3" fmla="*/ 0 w 933450"/>
                <a:gd name="connsiteY3" fmla="*/ 522923 h 657225"/>
                <a:gd name="connsiteX4" fmla="*/ 0 w 933450"/>
                <a:gd name="connsiteY4" fmla="*/ 665798 h 657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3450" h="657225">
                  <a:moveTo>
                    <a:pt x="0" y="665798"/>
                  </a:moveTo>
                  <a:cubicBezTo>
                    <a:pt x="223838" y="550545"/>
                    <a:pt x="551498" y="363855"/>
                    <a:pt x="941070" y="91440"/>
                  </a:cubicBezTo>
                  <a:lnTo>
                    <a:pt x="941070" y="0"/>
                  </a:lnTo>
                  <a:cubicBezTo>
                    <a:pt x="598170" y="223838"/>
                    <a:pt x="250508" y="403860"/>
                    <a:pt x="0" y="522923"/>
                  </a:cubicBezTo>
                  <a:lnTo>
                    <a:pt x="0" y="665798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/>
            </a:p>
          </p:txBody>
        </p:sp>
        <p:sp>
          <p:nvSpPr>
            <p:cNvPr id="10" name="Freihandform: Form 9">
              <a:extLst>
                <a:ext uri="{FF2B5EF4-FFF2-40B4-BE49-F238E27FC236}">
                  <a16:creationId xmlns:a16="http://schemas.microsoft.com/office/drawing/2014/main" id="{F8EA264B-ABDD-45D1-A56A-D3748E0F02B9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928370" y="5252175"/>
              <a:ext cx="284229" cy="153716"/>
            </a:xfrm>
            <a:custGeom>
              <a:avLst/>
              <a:gdLst>
                <a:gd name="connsiteX0" fmla="*/ 0 w 933450"/>
                <a:gd name="connsiteY0" fmla="*/ 507683 h 504825"/>
                <a:gd name="connsiteX1" fmla="*/ 941070 w 933450"/>
                <a:gd name="connsiteY1" fmla="*/ 44768 h 504825"/>
                <a:gd name="connsiteX2" fmla="*/ 941070 w 933450"/>
                <a:gd name="connsiteY2" fmla="*/ 0 h 504825"/>
                <a:gd name="connsiteX3" fmla="*/ 0 w 933450"/>
                <a:gd name="connsiteY3" fmla="*/ 322898 h 504825"/>
                <a:gd name="connsiteX4" fmla="*/ 0 w 933450"/>
                <a:gd name="connsiteY4" fmla="*/ 507683 h 504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3450" h="504825">
                  <a:moveTo>
                    <a:pt x="0" y="507683"/>
                  </a:moveTo>
                  <a:cubicBezTo>
                    <a:pt x="249555" y="405765"/>
                    <a:pt x="598170" y="249555"/>
                    <a:pt x="941070" y="44768"/>
                  </a:cubicBezTo>
                  <a:lnTo>
                    <a:pt x="941070" y="0"/>
                  </a:lnTo>
                  <a:cubicBezTo>
                    <a:pt x="618173" y="160020"/>
                    <a:pt x="282893" y="260033"/>
                    <a:pt x="0" y="322898"/>
                  </a:cubicBezTo>
                  <a:lnTo>
                    <a:pt x="0" y="507683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/>
            </a:p>
          </p:txBody>
        </p:sp>
        <p:sp>
          <p:nvSpPr>
            <p:cNvPr id="11" name="Freihandform: Form 10">
              <a:extLst>
                <a:ext uri="{FF2B5EF4-FFF2-40B4-BE49-F238E27FC236}">
                  <a16:creationId xmlns:a16="http://schemas.microsoft.com/office/drawing/2014/main" id="{4E0664E8-7E86-4A00-A5FC-66803A3D6306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30750" y="5349916"/>
              <a:ext cx="182719" cy="139214"/>
            </a:xfrm>
            <a:custGeom>
              <a:avLst/>
              <a:gdLst>
                <a:gd name="connsiteX0" fmla="*/ 604838 w 600075"/>
                <a:gd name="connsiteY0" fmla="*/ 460058 h 457200"/>
                <a:gd name="connsiteX1" fmla="*/ 604838 w 600075"/>
                <a:gd name="connsiteY1" fmla="*/ 0 h 457200"/>
                <a:gd name="connsiteX2" fmla="*/ 0 w 600075"/>
                <a:gd name="connsiteY2" fmla="*/ 460058 h 457200"/>
                <a:gd name="connsiteX3" fmla="*/ 604838 w 600075"/>
                <a:gd name="connsiteY3" fmla="*/ 460058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0075" h="457200">
                  <a:moveTo>
                    <a:pt x="604838" y="460058"/>
                  </a:moveTo>
                  <a:lnTo>
                    <a:pt x="604838" y="0"/>
                  </a:lnTo>
                  <a:cubicBezTo>
                    <a:pt x="390525" y="180975"/>
                    <a:pt x="178118" y="337185"/>
                    <a:pt x="0" y="460058"/>
                  </a:cubicBezTo>
                  <a:lnTo>
                    <a:pt x="604838" y="460058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/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03FFAD24-0237-403B-A220-602A1242A250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955053" y="5321783"/>
              <a:ext cx="258127" cy="168217"/>
            </a:xfrm>
            <a:custGeom>
              <a:avLst/>
              <a:gdLst>
                <a:gd name="connsiteX0" fmla="*/ 128588 w 847725"/>
                <a:gd name="connsiteY0" fmla="*/ 552450 h 552450"/>
                <a:gd name="connsiteX1" fmla="*/ 707708 w 847725"/>
                <a:gd name="connsiteY1" fmla="*/ 167640 h 552450"/>
                <a:gd name="connsiteX2" fmla="*/ 853440 w 847725"/>
                <a:gd name="connsiteY2" fmla="*/ 57150 h 552450"/>
                <a:gd name="connsiteX3" fmla="*/ 853440 w 847725"/>
                <a:gd name="connsiteY3" fmla="*/ 0 h 552450"/>
                <a:gd name="connsiteX4" fmla="*/ 0 w 847725"/>
                <a:gd name="connsiteY4" fmla="*/ 552450 h 552450"/>
                <a:gd name="connsiteX5" fmla="*/ 128588 w 847725"/>
                <a:gd name="connsiteY5" fmla="*/ 552450 h 552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47725" h="552450">
                  <a:moveTo>
                    <a:pt x="128588" y="552450"/>
                  </a:moveTo>
                  <a:cubicBezTo>
                    <a:pt x="298133" y="452438"/>
                    <a:pt x="502920" y="320993"/>
                    <a:pt x="707708" y="167640"/>
                  </a:cubicBezTo>
                  <a:cubicBezTo>
                    <a:pt x="755333" y="131445"/>
                    <a:pt x="803910" y="95250"/>
                    <a:pt x="853440" y="57150"/>
                  </a:cubicBezTo>
                  <a:lnTo>
                    <a:pt x="853440" y="0"/>
                  </a:lnTo>
                  <a:cubicBezTo>
                    <a:pt x="550545" y="226695"/>
                    <a:pt x="241935" y="416243"/>
                    <a:pt x="0" y="552450"/>
                  </a:cubicBezTo>
                  <a:lnTo>
                    <a:pt x="128588" y="55245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/>
            </a:p>
          </p:txBody>
        </p:sp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315C5F50-CA2D-4514-8637-8349A1B4602A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928370" y="5225493"/>
              <a:ext cx="284229" cy="101511"/>
            </a:xfrm>
            <a:custGeom>
              <a:avLst/>
              <a:gdLst>
                <a:gd name="connsiteX0" fmla="*/ 0 w 933450"/>
                <a:gd name="connsiteY0" fmla="*/ 342900 h 333375"/>
                <a:gd name="connsiteX1" fmla="*/ 941070 w 933450"/>
                <a:gd name="connsiteY1" fmla="*/ 50482 h 333375"/>
                <a:gd name="connsiteX2" fmla="*/ 941070 w 933450"/>
                <a:gd name="connsiteY2" fmla="*/ 0 h 333375"/>
                <a:gd name="connsiteX3" fmla="*/ 0 w 933450"/>
                <a:gd name="connsiteY3" fmla="*/ 234315 h 333375"/>
                <a:gd name="connsiteX4" fmla="*/ 0 w 933450"/>
                <a:gd name="connsiteY4" fmla="*/ 342900 h 333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3450" h="333375">
                  <a:moveTo>
                    <a:pt x="0" y="342900"/>
                  </a:moveTo>
                  <a:cubicBezTo>
                    <a:pt x="275273" y="294323"/>
                    <a:pt x="612458" y="207645"/>
                    <a:pt x="941070" y="50482"/>
                  </a:cubicBezTo>
                  <a:lnTo>
                    <a:pt x="941070" y="0"/>
                  </a:lnTo>
                  <a:cubicBezTo>
                    <a:pt x="609600" y="148590"/>
                    <a:pt x="277178" y="212408"/>
                    <a:pt x="0" y="234315"/>
                  </a:cubicBezTo>
                  <a:lnTo>
                    <a:pt x="0" y="34290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/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:a16="http://schemas.microsoft.com/office/drawing/2014/main" id="{1E2BB5D2-592C-47E7-9F1C-F6FEB9B7D66A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928370" y="5202000"/>
              <a:ext cx="284229" cy="78308"/>
            </a:xfrm>
            <a:custGeom>
              <a:avLst/>
              <a:gdLst>
                <a:gd name="connsiteX0" fmla="*/ 0 w 933450"/>
                <a:gd name="connsiteY0" fmla="*/ 0 h 257175"/>
                <a:gd name="connsiteX1" fmla="*/ 0 w 933450"/>
                <a:gd name="connsiteY1" fmla="*/ 263843 h 257175"/>
                <a:gd name="connsiteX2" fmla="*/ 62865 w 933450"/>
                <a:gd name="connsiteY2" fmla="*/ 259080 h 257175"/>
                <a:gd name="connsiteX3" fmla="*/ 941070 w 933450"/>
                <a:gd name="connsiteY3" fmla="*/ 55245 h 257175"/>
                <a:gd name="connsiteX4" fmla="*/ 941070 w 933450"/>
                <a:gd name="connsiteY4" fmla="*/ 0 h 257175"/>
                <a:gd name="connsiteX5" fmla="*/ 0 w 933450"/>
                <a:gd name="connsiteY5" fmla="*/ 0 h 257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33450" h="257175">
                  <a:moveTo>
                    <a:pt x="0" y="0"/>
                  </a:moveTo>
                  <a:lnTo>
                    <a:pt x="0" y="263843"/>
                  </a:lnTo>
                  <a:cubicBezTo>
                    <a:pt x="20955" y="262890"/>
                    <a:pt x="41910" y="260985"/>
                    <a:pt x="62865" y="259080"/>
                  </a:cubicBezTo>
                  <a:cubicBezTo>
                    <a:pt x="291465" y="240983"/>
                    <a:pt x="603885" y="200978"/>
                    <a:pt x="941070" y="55245"/>
                  </a:cubicBezTo>
                  <a:lnTo>
                    <a:pt x="94107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/>
            </a:p>
          </p:txBody>
        </p:sp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id="{4AA8B6BA-6764-4BDA-B2CF-CBD2DF5D12DF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928370" y="5218822"/>
              <a:ext cx="284229" cy="75408"/>
            </a:xfrm>
            <a:custGeom>
              <a:avLst/>
              <a:gdLst>
                <a:gd name="connsiteX0" fmla="*/ 0 w 933450"/>
                <a:gd name="connsiteY0" fmla="*/ 208598 h 247650"/>
                <a:gd name="connsiteX1" fmla="*/ 0 w 933450"/>
                <a:gd name="connsiteY1" fmla="*/ 257175 h 247650"/>
                <a:gd name="connsiteX2" fmla="*/ 941070 w 933450"/>
                <a:gd name="connsiteY2" fmla="*/ 22860 h 247650"/>
                <a:gd name="connsiteX3" fmla="*/ 941070 w 933450"/>
                <a:gd name="connsiteY3" fmla="*/ 0 h 247650"/>
                <a:gd name="connsiteX4" fmla="*/ 62865 w 933450"/>
                <a:gd name="connsiteY4" fmla="*/ 203835 h 247650"/>
                <a:gd name="connsiteX5" fmla="*/ 0 w 933450"/>
                <a:gd name="connsiteY5" fmla="*/ 208598 h 247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33450" h="247650">
                  <a:moveTo>
                    <a:pt x="0" y="208598"/>
                  </a:moveTo>
                  <a:lnTo>
                    <a:pt x="0" y="257175"/>
                  </a:lnTo>
                  <a:cubicBezTo>
                    <a:pt x="277178" y="234315"/>
                    <a:pt x="609600" y="171450"/>
                    <a:pt x="941070" y="22860"/>
                  </a:cubicBezTo>
                  <a:lnTo>
                    <a:pt x="941070" y="0"/>
                  </a:lnTo>
                  <a:cubicBezTo>
                    <a:pt x="603885" y="145733"/>
                    <a:pt x="291465" y="186690"/>
                    <a:pt x="62865" y="203835"/>
                  </a:cubicBezTo>
                  <a:cubicBezTo>
                    <a:pt x="41910" y="205740"/>
                    <a:pt x="20955" y="206693"/>
                    <a:pt x="0" y="208598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/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E37FFD76-B921-4023-B93B-077234AC4C3F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928370" y="5241154"/>
              <a:ext cx="284229" cy="107311"/>
            </a:xfrm>
            <a:custGeom>
              <a:avLst/>
              <a:gdLst>
                <a:gd name="connsiteX0" fmla="*/ 0 w 933450"/>
                <a:gd name="connsiteY0" fmla="*/ 359093 h 352425"/>
                <a:gd name="connsiteX1" fmla="*/ 941070 w 933450"/>
                <a:gd name="connsiteY1" fmla="*/ 36195 h 352425"/>
                <a:gd name="connsiteX2" fmla="*/ 941070 w 933450"/>
                <a:gd name="connsiteY2" fmla="*/ 0 h 352425"/>
                <a:gd name="connsiteX3" fmla="*/ 0 w 933450"/>
                <a:gd name="connsiteY3" fmla="*/ 291465 h 352425"/>
                <a:gd name="connsiteX4" fmla="*/ 0 w 933450"/>
                <a:gd name="connsiteY4" fmla="*/ 359093 h 352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3450" h="352425">
                  <a:moveTo>
                    <a:pt x="0" y="359093"/>
                  </a:moveTo>
                  <a:cubicBezTo>
                    <a:pt x="282893" y="296228"/>
                    <a:pt x="618173" y="196215"/>
                    <a:pt x="941070" y="36195"/>
                  </a:cubicBezTo>
                  <a:lnTo>
                    <a:pt x="941070" y="0"/>
                  </a:lnTo>
                  <a:cubicBezTo>
                    <a:pt x="612458" y="156210"/>
                    <a:pt x="275273" y="243840"/>
                    <a:pt x="0" y="291465"/>
                  </a:cubicBezTo>
                  <a:lnTo>
                    <a:pt x="0" y="359093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/>
            </a:p>
          </p:txBody>
        </p:sp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4EE05382-DB95-412E-91F0-0D3F28719221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928370" y="5265807"/>
              <a:ext cx="284229" cy="179819"/>
            </a:xfrm>
            <a:custGeom>
              <a:avLst/>
              <a:gdLst>
                <a:gd name="connsiteX0" fmla="*/ 0 w 933450"/>
                <a:gd name="connsiteY0" fmla="*/ 593408 h 590550"/>
                <a:gd name="connsiteX1" fmla="*/ 941070 w 933450"/>
                <a:gd name="connsiteY1" fmla="*/ 70485 h 590550"/>
                <a:gd name="connsiteX2" fmla="*/ 941070 w 933450"/>
                <a:gd name="connsiteY2" fmla="*/ 0 h 590550"/>
                <a:gd name="connsiteX3" fmla="*/ 0 w 933450"/>
                <a:gd name="connsiteY3" fmla="*/ 462915 h 590550"/>
                <a:gd name="connsiteX4" fmla="*/ 0 w 933450"/>
                <a:gd name="connsiteY4" fmla="*/ 593408 h 590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3450" h="590550">
                  <a:moveTo>
                    <a:pt x="0" y="593408"/>
                  </a:moveTo>
                  <a:cubicBezTo>
                    <a:pt x="250508" y="474345"/>
                    <a:pt x="598170" y="294323"/>
                    <a:pt x="941070" y="70485"/>
                  </a:cubicBezTo>
                  <a:lnTo>
                    <a:pt x="941070" y="0"/>
                  </a:lnTo>
                  <a:cubicBezTo>
                    <a:pt x="598170" y="204788"/>
                    <a:pt x="249555" y="360998"/>
                    <a:pt x="0" y="462915"/>
                  </a:cubicBezTo>
                  <a:lnTo>
                    <a:pt x="0" y="593408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/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C5A1EAB4-96ED-429F-B8C4-6EE7DD7C73CE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994207" y="5339184"/>
              <a:ext cx="220423" cy="150816"/>
            </a:xfrm>
            <a:custGeom>
              <a:avLst/>
              <a:gdLst>
                <a:gd name="connsiteX0" fmla="*/ 0 w 723900"/>
                <a:gd name="connsiteY0" fmla="*/ 495300 h 495300"/>
                <a:gd name="connsiteX1" fmla="*/ 120015 w 723900"/>
                <a:gd name="connsiteY1" fmla="*/ 495300 h 495300"/>
                <a:gd name="connsiteX2" fmla="*/ 724853 w 723900"/>
                <a:gd name="connsiteY2" fmla="*/ 35243 h 495300"/>
                <a:gd name="connsiteX3" fmla="*/ 724853 w 723900"/>
                <a:gd name="connsiteY3" fmla="*/ 0 h 495300"/>
                <a:gd name="connsiteX4" fmla="*/ 579120 w 723900"/>
                <a:gd name="connsiteY4" fmla="*/ 110490 h 495300"/>
                <a:gd name="connsiteX5" fmla="*/ 0 w 723900"/>
                <a:gd name="connsiteY5" fmla="*/ 495300 h 495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23900" h="495300">
                  <a:moveTo>
                    <a:pt x="0" y="495300"/>
                  </a:moveTo>
                  <a:lnTo>
                    <a:pt x="120015" y="495300"/>
                  </a:lnTo>
                  <a:cubicBezTo>
                    <a:pt x="298133" y="372428"/>
                    <a:pt x="510540" y="216218"/>
                    <a:pt x="724853" y="35243"/>
                  </a:cubicBezTo>
                  <a:lnTo>
                    <a:pt x="724853" y="0"/>
                  </a:lnTo>
                  <a:cubicBezTo>
                    <a:pt x="675323" y="38100"/>
                    <a:pt x="626745" y="75248"/>
                    <a:pt x="579120" y="110490"/>
                  </a:cubicBezTo>
                  <a:cubicBezTo>
                    <a:pt x="374333" y="263843"/>
                    <a:pt x="169545" y="395288"/>
                    <a:pt x="0" y="495300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/>
            </a:p>
          </p:txBody>
        </p:sp>
        <p:sp>
          <p:nvSpPr>
            <p:cNvPr id="19" name="Freihandform: Form 18">
              <a:extLst>
                <a:ext uri="{FF2B5EF4-FFF2-40B4-BE49-F238E27FC236}">
                  <a16:creationId xmlns:a16="http://schemas.microsoft.com/office/drawing/2014/main" id="{E6F6B714-503B-42ED-BAB7-73363D7F4D6B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928370" y="5315112"/>
              <a:ext cx="284229" cy="174018"/>
            </a:xfrm>
            <a:custGeom>
              <a:avLst/>
              <a:gdLst>
                <a:gd name="connsiteX0" fmla="*/ 0 w 933450"/>
                <a:gd name="connsiteY0" fmla="*/ 574358 h 571500"/>
                <a:gd name="connsiteX1" fmla="*/ 87630 w 933450"/>
                <a:gd name="connsiteY1" fmla="*/ 574358 h 571500"/>
                <a:gd name="connsiteX2" fmla="*/ 941070 w 933450"/>
                <a:gd name="connsiteY2" fmla="*/ 21907 h 571500"/>
                <a:gd name="connsiteX3" fmla="*/ 941070 w 933450"/>
                <a:gd name="connsiteY3" fmla="*/ 0 h 571500"/>
                <a:gd name="connsiteX4" fmla="*/ 0 w 933450"/>
                <a:gd name="connsiteY4" fmla="*/ 574358 h 571500"/>
                <a:gd name="connsiteX5" fmla="*/ 0 w 933450"/>
                <a:gd name="connsiteY5" fmla="*/ 574358 h 571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33450" h="571500">
                  <a:moveTo>
                    <a:pt x="0" y="574358"/>
                  </a:moveTo>
                  <a:lnTo>
                    <a:pt x="87630" y="574358"/>
                  </a:lnTo>
                  <a:cubicBezTo>
                    <a:pt x="329565" y="438150"/>
                    <a:pt x="638175" y="248602"/>
                    <a:pt x="941070" y="21907"/>
                  </a:cubicBezTo>
                  <a:lnTo>
                    <a:pt x="941070" y="0"/>
                  </a:lnTo>
                  <a:cubicBezTo>
                    <a:pt x="551498" y="272415"/>
                    <a:pt x="223838" y="459105"/>
                    <a:pt x="0" y="574358"/>
                  </a:cubicBezTo>
                  <a:lnTo>
                    <a:pt x="0" y="574358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/>
            </a:p>
          </p:txBody>
        </p:sp>
        <p:sp>
          <p:nvSpPr>
            <p:cNvPr id="20" name="Freihandform: Form 19">
              <a:extLst>
                <a:ext uri="{FF2B5EF4-FFF2-40B4-BE49-F238E27FC236}">
                  <a16:creationId xmlns:a16="http://schemas.microsoft.com/office/drawing/2014/main" id="{C4693361-3169-4B7D-80F8-91514D111DE6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311500" y="5280308"/>
              <a:ext cx="1383444" cy="211722"/>
            </a:xfrm>
            <a:custGeom>
              <a:avLst/>
              <a:gdLst>
                <a:gd name="connsiteX0" fmla="*/ 4272915 w 4543425"/>
                <a:gd name="connsiteY0" fmla="*/ 688658 h 695325"/>
                <a:gd name="connsiteX1" fmla="*/ 4393883 w 4543425"/>
                <a:gd name="connsiteY1" fmla="*/ 688658 h 695325"/>
                <a:gd name="connsiteX2" fmla="*/ 4393883 w 4543425"/>
                <a:gd name="connsiteY2" fmla="*/ 517208 h 695325"/>
                <a:gd name="connsiteX3" fmla="*/ 4491990 w 4543425"/>
                <a:gd name="connsiteY3" fmla="*/ 327660 h 695325"/>
                <a:gd name="connsiteX4" fmla="*/ 4546283 w 4543425"/>
                <a:gd name="connsiteY4" fmla="*/ 337185 h 695325"/>
                <a:gd name="connsiteX5" fmla="*/ 4546283 w 4543425"/>
                <a:gd name="connsiteY5" fmla="*/ 216218 h 695325"/>
                <a:gd name="connsiteX6" fmla="*/ 4509135 w 4543425"/>
                <a:gd name="connsiteY6" fmla="*/ 212408 h 695325"/>
                <a:gd name="connsiteX7" fmla="*/ 4381500 w 4543425"/>
                <a:gd name="connsiteY7" fmla="*/ 328613 h 695325"/>
                <a:gd name="connsiteX8" fmla="*/ 4380548 w 4543425"/>
                <a:gd name="connsiteY8" fmla="*/ 328613 h 695325"/>
                <a:gd name="connsiteX9" fmla="*/ 4380548 w 4543425"/>
                <a:gd name="connsiteY9" fmla="*/ 222885 h 695325"/>
                <a:gd name="connsiteX10" fmla="*/ 4272915 w 4543425"/>
                <a:gd name="connsiteY10" fmla="*/ 222885 h 695325"/>
                <a:gd name="connsiteX11" fmla="*/ 4272915 w 4543425"/>
                <a:gd name="connsiteY11" fmla="*/ 688658 h 695325"/>
                <a:gd name="connsiteX12" fmla="*/ 4151948 w 4543425"/>
                <a:gd name="connsiteY12" fmla="*/ 563880 h 695325"/>
                <a:gd name="connsiteX13" fmla="*/ 3997642 w 4543425"/>
                <a:gd name="connsiteY13" fmla="*/ 610553 h 695325"/>
                <a:gd name="connsiteX14" fmla="*/ 3865245 w 4543425"/>
                <a:gd name="connsiteY14" fmla="*/ 493395 h 695325"/>
                <a:gd name="connsiteX15" fmla="*/ 4187190 w 4543425"/>
                <a:gd name="connsiteY15" fmla="*/ 493395 h 695325"/>
                <a:gd name="connsiteX16" fmla="*/ 3966210 w 4543425"/>
                <a:gd name="connsiteY16" fmla="*/ 212408 h 695325"/>
                <a:gd name="connsiteX17" fmla="*/ 3749992 w 4543425"/>
                <a:gd name="connsiteY17" fmla="*/ 458153 h 695325"/>
                <a:gd name="connsiteX18" fmla="*/ 3992880 w 4543425"/>
                <a:gd name="connsiteY18" fmla="*/ 699135 h 695325"/>
                <a:gd name="connsiteX19" fmla="*/ 4152900 w 4543425"/>
                <a:gd name="connsiteY19" fmla="*/ 661988 h 695325"/>
                <a:gd name="connsiteX20" fmla="*/ 4152900 w 4543425"/>
                <a:gd name="connsiteY20" fmla="*/ 563880 h 695325"/>
                <a:gd name="connsiteX21" fmla="*/ 3864292 w 4543425"/>
                <a:gd name="connsiteY21" fmla="*/ 409575 h 695325"/>
                <a:gd name="connsiteX22" fmla="*/ 3971925 w 4543425"/>
                <a:gd name="connsiteY22" fmla="*/ 300038 h 695325"/>
                <a:gd name="connsiteX23" fmla="*/ 4070033 w 4543425"/>
                <a:gd name="connsiteY23" fmla="*/ 409575 h 695325"/>
                <a:gd name="connsiteX24" fmla="*/ 3864292 w 4543425"/>
                <a:gd name="connsiteY24" fmla="*/ 409575 h 695325"/>
                <a:gd name="connsiteX25" fmla="*/ 3477578 w 4543425"/>
                <a:gd name="connsiteY25" fmla="*/ 688658 h 695325"/>
                <a:gd name="connsiteX26" fmla="*/ 3598545 w 4543425"/>
                <a:gd name="connsiteY26" fmla="*/ 688658 h 695325"/>
                <a:gd name="connsiteX27" fmla="*/ 3598545 w 4543425"/>
                <a:gd name="connsiteY27" fmla="*/ 311468 h 695325"/>
                <a:gd name="connsiteX28" fmla="*/ 3704273 w 4543425"/>
                <a:gd name="connsiteY28" fmla="*/ 311468 h 695325"/>
                <a:gd name="connsiteX29" fmla="*/ 3704273 w 4543425"/>
                <a:gd name="connsiteY29" fmla="*/ 222885 h 695325"/>
                <a:gd name="connsiteX30" fmla="*/ 3598545 w 4543425"/>
                <a:gd name="connsiteY30" fmla="*/ 222885 h 695325"/>
                <a:gd name="connsiteX31" fmla="*/ 3598545 w 4543425"/>
                <a:gd name="connsiteY31" fmla="*/ 164783 h 695325"/>
                <a:gd name="connsiteX32" fmla="*/ 3651885 w 4543425"/>
                <a:gd name="connsiteY32" fmla="*/ 93345 h 695325"/>
                <a:gd name="connsiteX33" fmla="*/ 3704273 w 4543425"/>
                <a:gd name="connsiteY33" fmla="*/ 109538 h 695325"/>
                <a:gd name="connsiteX34" fmla="*/ 3713798 w 4543425"/>
                <a:gd name="connsiteY34" fmla="*/ 9525 h 695325"/>
                <a:gd name="connsiteX35" fmla="*/ 3625215 w 4543425"/>
                <a:gd name="connsiteY35" fmla="*/ 0 h 695325"/>
                <a:gd name="connsiteX36" fmla="*/ 3476625 w 4543425"/>
                <a:gd name="connsiteY36" fmla="*/ 158115 h 695325"/>
                <a:gd name="connsiteX37" fmla="*/ 3476625 w 4543425"/>
                <a:gd name="connsiteY37" fmla="*/ 222885 h 695325"/>
                <a:gd name="connsiteX38" fmla="*/ 3387090 w 4543425"/>
                <a:gd name="connsiteY38" fmla="*/ 222885 h 695325"/>
                <a:gd name="connsiteX39" fmla="*/ 3387090 w 4543425"/>
                <a:gd name="connsiteY39" fmla="*/ 311468 h 695325"/>
                <a:gd name="connsiteX40" fmla="*/ 3476625 w 4543425"/>
                <a:gd name="connsiteY40" fmla="*/ 311468 h 695325"/>
                <a:gd name="connsiteX41" fmla="*/ 3476625 w 4543425"/>
                <a:gd name="connsiteY41" fmla="*/ 688658 h 695325"/>
                <a:gd name="connsiteX42" fmla="*/ 2996565 w 4543425"/>
                <a:gd name="connsiteY42" fmla="*/ 444817 h 695325"/>
                <a:gd name="connsiteX43" fmla="*/ 3112770 w 4543425"/>
                <a:gd name="connsiteY43" fmla="*/ 306705 h 695325"/>
                <a:gd name="connsiteX44" fmla="*/ 3229928 w 4543425"/>
                <a:gd name="connsiteY44" fmla="*/ 444817 h 695325"/>
                <a:gd name="connsiteX45" fmla="*/ 3112770 w 4543425"/>
                <a:gd name="connsiteY45" fmla="*/ 605790 h 695325"/>
                <a:gd name="connsiteX46" fmla="*/ 2996565 w 4543425"/>
                <a:gd name="connsiteY46" fmla="*/ 444817 h 695325"/>
                <a:gd name="connsiteX47" fmla="*/ 2869883 w 4543425"/>
                <a:gd name="connsiteY47" fmla="*/ 459105 h 695325"/>
                <a:gd name="connsiteX48" fmla="*/ 3112770 w 4543425"/>
                <a:gd name="connsiteY48" fmla="*/ 699135 h 695325"/>
                <a:gd name="connsiteX49" fmla="*/ 3356610 w 4543425"/>
                <a:gd name="connsiteY49" fmla="*/ 459105 h 695325"/>
                <a:gd name="connsiteX50" fmla="*/ 3112770 w 4543425"/>
                <a:gd name="connsiteY50" fmla="*/ 212408 h 695325"/>
                <a:gd name="connsiteX51" fmla="*/ 2869883 w 4543425"/>
                <a:gd name="connsiteY51" fmla="*/ 459105 h 695325"/>
                <a:gd name="connsiteX52" fmla="*/ 2365058 w 4543425"/>
                <a:gd name="connsiteY52" fmla="*/ 688658 h 695325"/>
                <a:gd name="connsiteX53" fmla="*/ 2486025 w 4543425"/>
                <a:gd name="connsiteY53" fmla="*/ 688658 h 695325"/>
                <a:gd name="connsiteX54" fmla="*/ 2486025 w 4543425"/>
                <a:gd name="connsiteY54" fmla="*/ 461010 h 695325"/>
                <a:gd name="connsiteX55" fmla="*/ 2592705 w 4543425"/>
                <a:gd name="connsiteY55" fmla="*/ 306705 h 695325"/>
                <a:gd name="connsiteX56" fmla="*/ 2671763 w 4543425"/>
                <a:gd name="connsiteY56" fmla="*/ 440055 h 695325"/>
                <a:gd name="connsiteX57" fmla="*/ 2671763 w 4543425"/>
                <a:gd name="connsiteY57" fmla="*/ 688658 h 695325"/>
                <a:gd name="connsiteX58" fmla="*/ 2792730 w 4543425"/>
                <a:gd name="connsiteY58" fmla="*/ 688658 h 695325"/>
                <a:gd name="connsiteX59" fmla="*/ 2792730 w 4543425"/>
                <a:gd name="connsiteY59" fmla="*/ 394335 h 695325"/>
                <a:gd name="connsiteX60" fmla="*/ 2634615 w 4543425"/>
                <a:gd name="connsiteY60" fmla="*/ 211455 h 695325"/>
                <a:gd name="connsiteX61" fmla="*/ 2487930 w 4543425"/>
                <a:gd name="connsiteY61" fmla="*/ 285750 h 695325"/>
                <a:gd name="connsiteX62" fmla="*/ 2486025 w 4543425"/>
                <a:gd name="connsiteY62" fmla="*/ 285750 h 695325"/>
                <a:gd name="connsiteX63" fmla="*/ 2486025 w 4543425"/>
                <a:gd name="connsiteY63" fmla="*/ 10478 h 695325"/>
                <a:gd name="connsiteX64" fmla="*/ 2365058 w 4543425"/>
                <a:gd name="connsiteY64" fmla="*/ 10478 h 695325"/>
                <a:gd name="connsiteX65" fmla="*/ 2365058 w 4543425"/>
                <a:gd name="connsiteY65" fmla="*/ 688658 h 695325"/>
                <a:gd name="connsiteX66" fmla="*/ 1813560 w 4543425"/>
                <a:gd name="connsiteY66" fmla="*/ 688658 h 695325"/>
                <a:gd name="connsiteX67" fmla="*/ 1934528 w 4543425"/>
                <a:gd name="connsiteY67" fmla="*/ 688658 h 695325"/>
                <a:gd name="connsiteX68" fmla="*/ 1934528 w 4543425"/>
                <a:gd name="connsiteY68" fmla="*/ 461010 h 695325"/>
                <a:gd name="connsiteX69" fmla="*/ 2041207 w 4543425"/>
                <a:gd name="connsiteY69" fmla="*/ 306705 h 695325"/>
                <a:gd name="connsiteX70" fmla="*/ 2120265 w 4543425"/>
                <a:gd name="connsiteY70" fmla="*/ 440055 h 695325"/>
                <a:gd name="connsiteX71" fmla="*/ 2120265 w 4543425"/>
                <a:gd name="connsiteY71" fmla="*/ 688658 h 695325"/>
                <a:gd name="connsiteX72" fmla="*/ 2241233 w 4543425"/>
                <a:gd name="connsiteY72" fmla="*/ 688658 h 695325"/>
                <a:gd name="connsiteX73" fmla="*/ 2241233 w 4543425"/>
                <a:gd name="connsiteY73" fmla="*/ 394335 h 695325"/>
                <a:gd name="connsiteX74" fmla="*/ 2083117 w 4543425"/>
                <a:gd name="connsiteY74" fmla="*/ 211455 h 695325"/>
                <a:gd name="connsiteX75" fmla="*/ 1930717 w 4543425"/>
                <a:gd name="connsiteY75" fmla="*/ 285750 h 695325"/>
                <a:gd name="connsiteX76" fmla="*/ 1928813 w 4543425"/>
                <a:gd name="connsiteY76" fmla="*/ 285750 h 695325"/>
                <a:gd name="connsiteX77" fmla="*/ 1928813 w 4543425"/>
                <a:gd name="connsiteY77" fmla="*/ 222885 h 695325"/>
                <a:gd name="connsiteX78" fmla="*/ 1814513 w 4543425"/>
                <a:gd name="connsiteY78" fmla="*/ 222885 h 695325"/>
                <a:gd name="connsiteX79" fmla="*/ 1814513 w 4543425"/>
                <a:gd name="connsiteY79" fmla="*/ 688658 h 695325"/>
                <a:gd name="connsiteX80" fmla="*/ 1688782 w 4543425"/>
                <a:gd name="connsiteY80" fmla="*/ 222885 h 695325"/>
                <a:gd name="connsiteX81" fmla="*/ 1567815 w 4543425"/>
                <a:gd name="connsiteY81" fmla="*/ 222885 h 695325"/>
                <a:gd name="connsiteX82" fmla="*/ 1567815 w 4543425"/>
                <a:gd name="connsiteY82" fmla="*/ 450533 h 695325"/>
                <a:gd name="connsiteX83" fmla="*/ 1461135 w 4543425"/>
                <a:gd name="connsiteY83" fmla="*/ 604838 h 695325"/>
                <a:gd name="connsiteX84" fmla="*/ 1382078 w 4543425"/>
                <a:gd name="connsiteY84" fmla="*/ 471488 h 695325"/>
                <a:gd name="connsiteX85" fmla="*/ 1382078 w 4543425"/>
                <a:gd name="connsiteY85" fmla="*/ 222885 h 695325"/>
                <a:gd name="connsiteX86" fmla="*/ 1261110 w 4543425"/>
                <a:gd name="connsiteY86" fmla="*/ 222885 h 695325"/>
                <a:gd name="connsiteX87" fmla="*/ 1261110 w 4543425"/>
                <a:gd name="connsiteY87" fmla="*/ 516255 h 695325"/>
                <a:gd name="connsiteX88" fmla="*/ 1419225 w 4543425"/>
                <a:gd name="connsiteY88" fmla="*/ 699135 h 695325"/>
                <a:gd name="connsiteX89" fmla="*/ 1571625 w 4543425"/>
                <a:gd name="connsiteY89" fmla="*/ 624840 h 695325"/>
                <a:gd name="connsiteX90" fmla="*/ 1573530 w 4543425"/>
                <a:gd name="connsiteY90" fmla="*/ 624840 h 695325"/>
                <a:gd name="connsiteX91" fmla="*/ 1573530 w 4543425"/>
                <a:gd name="connsiteY91" fmla="*/ 687705 h 695325"/>
                <a:gd name="connsiteX92" fmla="*/ 1688782 w 4543425"/>
                <a:gd name="connsiteY92" fmla="*/ 687705 h 695325"/>
                <a:gd name="connsiteX93" fmla="*/ 1688782 w 4543425"/>
                <a:gd name="connsiteY93" fmla="*/ 222885 h 695325"/>
                <a:gd name="connsiteX94" fmla="*/ 862965 w 4543425"/>
                <a:gd name="connsiteY94" fmla="*/ 553403 h 695325"/>
                <a:gd name="connsiteX95" fmla="*/ 997268 w 4543425"/>
                <a:gd name="connsiteY95" fmla="*/ 473392 h 695325"/>
                <a:gd name="connsiteX96" fmla="*/ 1049655 w 4543425"/>
                <a:gd name="connsiteY96" fmla="*/ 473392 h 695325"/>
                <a:gd name="connsiteX97" fmla="*/ 1023938 w 4543425"/>
                <a:gd name="connsiteY97" fmla="*/ 569595 h 695325"/>
                <a:gd name="connsiteX98" fmla="*/ 939165 w 4543425"/>
                <a:gd name="connsiteY98" fmla="*/ 611505 h 695325"/>
                <a:gd name="connsiteX99" fmla="*/ 862965 w 4543425"/>
                <a:gd name="connsiteY99" fmla="*/ 553403 h 695325"/>
                <a:gd name="connsiteX100" fmla="*/ 801052 w 4543425"/>
                <a:gd name="connsiteY100" fmla="*/ 351473 h 695325"/>
                <a:gd name="connsiteX101" fmla="*/ 944880 w 4543425"/>
                <a:gd name="connsiteY101" fmla="*/ 300990 h 695325"/>
                <a:gd name="connsiteX102" fmla="*/ 1049655 w 4543425"/>
                <a:gd name="connsiteY102" fmla="*/ 401003 h 695325"/>
                <a:gd name="connsiteX103" fmla="*/ 982980 w 4543425"/>
                <a:gd name="connsiteY103" fmla="*/ 401003 h 695325"/>
                <a:gd name="connsiteX104" fmla="*/ 826770 w 4543425"/>
                <a:gd name="connsiteY104" fmla="*/ 427673 h 695325"/>
                <a:gd name="connsiteX105" fmla="*/ 747713 w 4543425"/>
                <a:gd name="connsiteY105" fmla="*/ 561023 h 695325"/>
                <a:gd name="connsiteX106" fmla="*/ 910590 w 4543425"/>
                <a:gd name="connsiteY106" fmla="*/ 699135 h 695325"/>
                <a:gd name="connsiteX107" fmla="*/ 1054418 w 4543425"/>
                <a:gd name="connsiteY107" fmla="*/ 619125 h 695325"/>
                <a:gd name="connsiteX108" fmla="*/ 1056323 w 4543425"/>
                <a:gd name="connsiteY108" fmla="*/ 619125 h 695325"/>
                <a:gd name="connsiteX109" fmla="*/ 1062038 w 4543425"/>
                <a:gd name="connsiteY109" fmla="*/ 688658 h 695325"/>
                <a:gd name="connsiteX110" fmla="*/ 1168718 w 4543425"/>
                <a:gd name="connsiteY110" fmla="*/ 688658 h 695325"/>
                <a:gd name="connsiteX111" fmla="*/ 1163002 w 4543425"/>
                <a:gd name="connsiteY111" fmla="*/ 584835 h 695325"/>
                <a:gd name="connsiteX112" fmla="*/ 1161098 w 4543425"/>
                <a:gd name="connsiteY112" fmla="*/ 468630 h 695325"/>
                <a:gd name="connsiteX113" fmla="*/ 1161098 w 4543425"/>
                <a:gd name="connsiteY113" fmla="*/ 408623 h 695325"/>
                <a:gd name="connsiteX114" fmla="*/ 960120 w 4543425"/>
                <a:gd name="connsiteY114" fmla="*/ 212408 h 695325"/>
                <a:gd name="connsiteX115" fmla="*/ 798195 w 4543425"/>
                <a:gd name="connsiteY115" fmla="*/ 247650 h 695325"/>
                <a:gd name="connsiteX116" fmla="*/ 801052 w 4543425"/>
                <a:gd name="connsiteY116" fmla="*/ 351473 h 695325"/>
                <a:gd name="connsiteX117" fmla="*/ 437197 w 4543425"/>
                <a:gd name="connsiteY117" fmla="*/ 688658 h 695325"/>
                <a:gd name="connsiteX118" fmla="*/ 558165 w 4543425"/>
                <a:gd name="connsiteY118" fmla="*/ 688658 h 695325"/>
                <a:gd name="connsiteX119" fmla="*/ 558165 w 4543425"/>
                <a:gd name="connsiteY119" fmla="*/ 517208 h 695325"/>
                <a:gd name="connsiteX120" fmla="*/ 656272 w 4543425"/>
                <a:gd name="connsiteY120" fmla="*/ 327660 h 695325"/>
                <a:gd name="connsiteX121" fmla="*/ 710565 w 4543425"/>
                <a:gd name="connsiteY121" fmla="*/ 337185 h 695325"/>
                <a:gd name="connsiteX122" fmla="*/ 710565 w 4543425"/>
                <a:gd name="connsiteY122" fmla="*/ 216218 h 695325"/>
                <a:gd name="connsiteX123" fmla="*/ 673418 w 4543425"/>
                <a:gd name="connsiteY123" fmla="*/ 212408 h 695325"/>
                <a:gd name="connsiteX124" fmla="*/ 545782 w 4543425"/>
                <a:gd name="connsiteY124" fmla="*/ 328613 h 695325"/>
                <a:gd name="connsiteX125" fmla="*/ 543877 w 4543425"/>
                <a:gd name="connsiteY125" fmla="*/ 328613 h 695325"/>
                <a:gd name="connsiteX126" fmla="*/ 543877 w 4543425"/>
                <a:gd name="connsiteY126" fmla="*/ 222885 h 695325"/>
                <a:gd name="connsiteX127" fmla="*/ 437197 w 4543425"/>
                <a:gd name="connsiteY127" fmla="*/ 222885 h 695325"/>
                <a:gd name="connsiteX128" fmla="*/ 437197 w 4543425"/>
                <a:gd name="connsiteY128" fmla="*/ 688658 h 695325"/>
                <a:gd name="connsiteX129" fmla="*/ 0 w 4543425"/>
                <a:gd name="connsiteY129" fmla="*/ 688658 h 695325"/>
                <a:gd name="connsiteX130" fmla="*/ 126682 w 4543425"/>
                <a:gd name="connsiteY130" fmla="*/ 688658 h 695325"/>
                <a:gd name="connsiteX131" fmla="*/ 126682 w 4543425"/>
                <a:gd name="connsiteY131" fmla="*/ 412433 h 695325"/>
                <a:gd name="connsiteX132" fmla="*/ 340042 w 4543425"/>
                <a:gd name="connsiteY132" fmla="*/ 412433 h 695325"/>
                <a:gd name="connsiteX133" fmla="*/ 340042 w 4543425"/>
                <a:gd name="connsiteY133" fmla="*/ 312420 h 695325"/>
                <a:gd name="connsiteX134" fmla="*/ 126682 w 4543425"/>
                <a:gd name="connsiteY134" fmla="*/ 312420 h 695325"/>
                <a:gd name="connsiteX135" fmla="*/ 126682 w 4543425"/>
                <a:gd name="connsiteY135" fmla="*/ 157163 h 695325"/>
                <a:gd name="connsiteX136" fmla="*/ 350520 w 4543425"/>
                <a:gd name="connsiteY136" fmla="*/ 157163 h 695325"/>
                <a:gd name="connsiteX137" fmla="*/ 350520 w 4543425"/>
                <a:gd name="connsiteY137" fmla="*/ 58102 h 695325"/>
                <a:gd name="connsiteX138" fmla="*/ 0 w 4543425"/>
                <a:gd name="connsiteY138" fmla="*/ 58102 h 695325"/>
                <a:gd name="connsiteX139" fmla="*/ 0 w 4543425"/>
                <a:gd name="connsiteY139" fmla="*/ 688658 h 69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</a:cxnLst>
              <a:rect l="l" t="t" r="r" b="b"/>
              <a:pathLst>
                <a:path w="4543425" h="695325">
                  <a:moveTo>
                    <a:pt x="4272915" y="688658"/>
                  </a:moveTo>
                  <a:lnTo>
                    <a:pt x="4393883" y="688658"/>
                  </a:lnTo>
                  <a:lnTo>
                    <a:pt x="4393883" y="517208"/>
                  </a:lnTo>
                  <a:cubicBezTo>
                    <a:pt x="4393883" y="450533"/>
                    <a:pt x="4393883" y="327660"/>
                    <a:pt x="4491990" y="327660"/>
                  </a:cubicBezTo>
                  <a:cubicBezTo>
                    <a:pt x="4513898" y="327660"/>
                    <a:pt x="4535805" y="331470"/>
                    <a:pt x="4546283" y="337185"/>
                  </a:cubicBezTo>
                  <a:lnTo>
                    <a:pt x="4546283" y="216218"/>
                  </a:lnTo>
                  <a:cubicBezTo>
                    <a:pt x="4533900" y="212408"/>
                    <a:pt x="4520565" y="212408"/>
                    <a:pt x="4509135" y="212408"/>
                  </a:cubicBezTo>
                  <a:cubicBezTo>
                    <a:pt x="4436745" y="212408"/>
                    <a:pt x="4387215" y="285750"/>
                    <a:pt x="4381500" y="328613"/>
                  </a:cubicBezTo>
                  <a:lnTo>
                    <a:pt x="4380548" y="328613"/>
                  </a:lnTo>
                  <a:lnTo>
                    <a:pt x="4380548" y="222885"/>
                  </a:lnTo>
                  <a:lnTo>
                    <a:pt x="4272915" y="222885"/>
                  </a:lnTo>
                  <a:lnTo>
                    <a:pt x="4272915" y="688658"/>
                  </a:lnTo>
                  <a:close/>
                  <a:moveTo>
                    <a:pt x="4151948" y="563880"/>
                  </a:moveTo>
                  <a:cubicBezTo>
                    <a:pt x="4107180" y="589598"/>
                    <a:pt x="4055745" y="610553"/>
                    <a:pt x="3997642" y="610553"/>
                  </a:cubicBezTo>
                  <a:cubicBezTo>
                    <a:pt x="3922395" y="610553"/>
                    <a:pt x="3870008" y="567690"/>
                    <a:pt x="3865245" y="493395"/>
                  </a:cubicBezTo>
                  <a:lnTo>
                    <a:pt x="4187190" y="493395"/>
                  </a:lnTo>
                  <a:cubicBezTo>
                    <a:pt x="4187190" y="330518"/>
                    <a:pt x="4138612" y="212408"/>
                    <a:pt x="3966210" y="212408"/>
                  </a:cubicBezTo>
                  <a:cubicBezTo>
                    <a:pt x="3821430" y="212408"/>
                    <a:pt x="3749992" y="323850"/>
                    <a:pt x="3749992" y="458153"/>
                  </a:cubicBezTo>
                  <a:cubicBezTo>
                    <a:pt x="3749992" y="610553"/>
                    <a:pt x="3839528" y="699135"/>
                    <a:pt x="3992880" y="699135"/>
                  </a:cubicBezTo>
                  <a:cubicBezTo>
                    <a:pt x="4057650" y="699135"/>
                    <a:pt x="4108133" y="686753"/>
                    <a:pt x="4152900" y="661988"/>
                  </a:cubicBezTo>
                  <a:lnTo>
                    <a:pt x="4152900" y="563880"/>
                  </a:lnTo>
                  <a:close/>
                  <a:moveTo>
                    <a:pt x="3864292" y="409575"/>
                  </a:moveTo>
                  <a:cubicBezTo>
                    <a:pt x="3870008" y="347663"/>
                    <a:pt x="3904298" y="300038"/>
                    <a:pt x="3971925" y="300038"/>
                  </a:cubicBezTo>
                  <a:cubicBezTo>
                    <a:pt x="4039553" y="300038"/>
                    <a:pt x="4067175" y="350520"/>
                    <a:pt x="4070033" y="409575"/>
                  </a:cubicBezTo>
                  <a:lnTo>
                    <a:pt x="3864292" y="409575"/>
                  </a:lnTo>
                  <a:close/>
                  <a:moveTo>
                    <a:pt x="3477578" y="688658"/>
                  </a:moveTo>
                  <a:lnTo>
                    <a:pt x="3598545" y="688658"/>
                  </a:lnTo>
                  <a:lnTo>
                    <a:pt x="3598545" y="311468"/>
                  </a:lnTo>
                  <a:lnTo>
                    <a:pt x="3704273" y="311468"/>
                  </a:lnTo>
                  <a:lnTo>
                    <a:pt x="3704273" y="222885"/>
                  </a:lnTo>
                  <a:lnTo>
                    <a:pt x="3598545" y="222885"/>
                  </a:lnTo>
                  <a:lnTo>
                    <a:pt x="3598545" y="164783"/>
                  </a:lnTo>
                  <a:cubicBezTo>
                    <a:pt x="3598545" y="128588"/>
                    <a:pt x="3610928" y="93345"/>
                    <a:pt x="3651885" y="93345"/>
                  </a:cubicBezTo>
                  <a:cubicBezTo>
                    <a:pt x="3677603" y="93345"/>
                    <a:pt x="3693795" y="102870"/>
                    <a:pt x="3704273" y="109538"/>
                  </a:cubicBezTo>
                  <a:lnTo>
                    <a:pt x="3713798" y="9525"/>
                  </a:lnTo>
                  <a:cubicBezTo>
                    <a:pt x="3689985" y="3810"/>
                    <a:pt x="3655695" y="0"/>
                    <a:pt x="3625215" y="0"/>
                  </a:cubicBezTo>
                  <a:cubicBezTo>
                    <a:pt x="3529013" y="0"/>
                    <a:pt x="3476625" y="64770"/>
                    <a:pt x="3476625" y="158115"/>
                  </a:cubicBezTo>
                  <a:lnTo>
                    <a:pt x="3476625" y="222885"/>
                  </a:lnTo>
                  <a:lnTo>
                    <a:pt x="3387090" y="222885"/>
                  </a:lnTo>
                  <a:lnTo>
                    <a:pt x="3387090" y="311468"/>
                  </a:lnTo>
                  <a:lnTo>
                    <a:pt x="3476625" y="311468"/>
                  </a:lnTo>
                  <a:lnTo>
                    <a:pt x="3476625" y="688658"/>
                  </a:lnTo>
                  <a:close/>
                  <a:moveTo>
                    <a:pt x="2996565" y="444817"/>
                  </a:moveTo>
                  <a:cubicBezTo>
                    <a:pt x="2996565" y="375285"/>
                    <a:pt x="3034665" y="306705"/>
                    <a:pt x="3112770" y="306705"/>
                  </a:cubicBezTo>
                  <a:cubicBezTo>
                    <a:pt x="3191828" y="306705"/>
                    <a:pt x="3229928" y="373380"/>
                    <a:pt x="3229928" y="444817"/>
                  </a:cubicBezTo>
                  <a:cubicBezTo>
                    <a:pt x="3229928" y="522923"/>
                    <a:pt x="3205163" y="605790"/>
                    <a:pt x="3112770" y="605790"/>
                  </a:cubicBezTo>
                  <a:cubicBezTo>
                    <a:pt x="3020378" y="604838"/>
                    <a:pt x="2996565" y="521017"/>
                    <a:pt x="2996565" y="444817"/>
                  </a:cubicBezTo>
                  <a:moveTo>
                    <a:pt x="2869883" y="459105"/>
                  </a:moveTo>
                  <a:cubicBezTo>
                    <a:pt x="2869883" y="592455"/>
                    <a:pt x="2959417" y="699135"/>
                    <a:pt x="3112770" y="699135"/>
                  </a:cubicBezTo>
                  <a:cubicBezTo>
                    <a:pt x="3267075" y="699135"/>
                    <a:pt x="3356610" y="592455"/>
                    <a:pt x="3356610" y="459105"/>
                  </a:cubicBezTo>
                  <a:cubicBezTo>
                    <a:pt x="3356610" y="305753"/>
                    <a:pt x="3250883" y="212408"/>
                    <a:pt x="3112770" y="212408"/>
                  </a:cubicBezTo>
                  <a:cubicBezTo>
                    <a:pt x="2975610" y="212408"/>
                    <a:pt x="2869883" y="304800"/>
                    <a:pt x="2869883" y="459105"/>
                  </a:cubicBezTo>
                  <a:moveTo>
                    <a:pt x="2365058" y="688658"/>
                  </a:moveTo>
                  <a:lnTo>
                    <a:pt x="2486025" y="688658"/>
                  </a:lnTo>
                  <a:lnTo>
                    <a:pt x="2486025" y="461010"/>
                  </a:lnTo>
                  <a:cubicBezTo>
                    <a:pt x="2486025" y="401003"/>
                    <a:pt x="2505075" y="306705"/>
                    <a:pt x="2592705" y="306705"/>
                  </a:cubicBezTo>
                  <a:cubicBezTo>
                    <a:pt x="2670810" y="306705"/>
                    <a:pt x="2671763" y="383858"/>
                    <a:pt x="2671763" y="440055"/>
                  </a:cubicBezTo>
                  <a:lnTo>
                    <a:pt x="2671763" y="688658"/>
                  </a:lnTo>
                  <a:lnTo>
                    <a:pt x="2792730" y="688658"/>
                  </a:lnTo>
                  <a:lnTo>
                    <a:pt x="2792730" y="394335"/>
                  </a:lnTo>
                  <a:cubicBezTo>
                    <a:pt x="2792730" y="289560"/>
                    <a:pt x="2745105" y="211455"/>
                    <a:pt x="2634615" y="211455"/>
                  </a:cubicBezTo>
                  <a:cubicBezTo>
                    <a:pt x="2571750" y="211455"/>
                    <a:pt x="2519363" y="240030"/>
                    <a:pt x="2487930" y="285750"/>
                  </a:cubicBezTo>
                  <a:lnTo>
                    <a:pt x="2486025" y="285750"/>
                  </a:lnTo>
                  <a:lnTo>
                    <a:pt x="2486025" y="10478"/>
                  </a:lnTo>
                  <a:lnTo>
                    <a:pt x="2365058" y="10478"/>
                  </a:lnTo>
                  <a:lnTo>
                    <a:pt x="2365058" y="688658"/>
                  </a:lnTo>
                  <a:close/>
                  <a:moveTo>
                    <a:pt x="1813560" y="688658"/>
                  </a:moveTo>
                  <a:lnTo>
                    <a:pt x="1934528" y="688658"/>
                  </a:lnTo>
                  <a:lnTo>
                    <a:pt x="1934528" y="461010"/>
                  </a:lnTo>
                  <a:cubicBezTo>
                    <a:pt x="1934528" y="401003"/>
                    <a:pt x="1953578" y="306705"/>
                    <a:pt x="2041207" y="306705"/>
                  </a:cubicBezTo>
                  <a:cubicBezTo>
                    <a:pt x="2119313" y="306705"/>
                    <a:pt x="2120265" y="383858"/>
                    <a:pt x="2120265" y="440055"/>
                  </a:cubicBezTo>
                  <a:lnTo>
                    <a:pt x="2120265" y="688658"/>
                  </a:lnTo>
                  <a:lnTo>
                    <a:pt x="2241233" y="688658"/>
                  </a:lnTo>
                  <a:lnTo>
                    <a:pt x="2241233" y="394335"/>
                  </a:lnTo>
                  <a:cubicBezTo>
                    <a:pt x="2241233" y="289560"/>
                    <a:pt x="2193608" y="211455"/>
                    <a:pt x="2083117" y="211455"/>
                  </a:cubicBezTo>
                  <a:cubicBezTo>
                    <a:pt x="2020253" y="211455"/>
                    <a:pt x="1967865" y="232410"/>
                    <a:pt x="1930717" y="285750"/>
                  </a:cubicBezTo>
                  <a:lnTo>
                    <a:pt x="1928813" y="285750"/>
                  </a:lnTo>
                  <a:lnTo>
                    <a:pt x="1928813" y="222885"/>
                  </a:lnTo>
                  <a:lnTo>
                    <a:pt x="1814513" y="222885"/>
                  </a:lnTo>
                  <a:lnTo>
                    <a:pt x="1814513" y="688658"/>
                  </a:lnTo>
                  <a:close/>
                  <a:moveTo>
                    <a:pt x="1688782" y="222885"/>
                  </a:moveTo>
                  <a:lnTo>
                    <a:pt x="1567815" y="222885"/>
                  </a:lnTo>
                  <a:lnTo>
                    <a:pt x="1567815" y="450533"/>
                  </a:lnTo>
                  <a:cubicBezTo>
                    <a:pt x="1567815" y="509588"/>
                    <a:pt x="1548765" y="604838"/>
                    <a:pt x="1461135" y="604838"/>
                  </a:cubicBezTo>
                  <a:cubicBezTo>
                    <a:pt x="1383030" y="604838"/>
                    <a:pt x="1382078" y="527685"/>
                    <a:pt x="1382078" y="471488"/>
                  </a:cubicBezTo>
                  <a:lnTo>
                    <a:pt x="1382078" y="222885"/>
                  </a:lnTo>
                  <a:lnTo>
                    <a:pt x="1261110" y="222885"/>
                  </a:lnTo>
                  <a:lnTo>
                    <a:pt x="1261110" y="516255"/>
                  </a:lnTo>
                  <a:cubicBezTo>
                    <a:pt x="1261110" y="621030"/>
                    <a:pt x="1308735" y="699135"/>
                    <a:pt x="1419225" y="699135"/>
                  </a:cubicBezTo>
                  <a:cubicBezTo>
                    <a:pt x="1482090" y="699135"/>
                    <a:pt x="1534478" y="670560"/>
                    <a:pt x="1571625" y="624840"/>
                  </a:cubicBezTo>
                  <a:lnTo>
                    <a:pt x="1573530" y="624840"/>
                  </a:lnTo>
                  <a:lnTo>
                    <a:pt x="1573530" y="687705"/>
                  </a:lnTo>
                  <a:lnTo>
                    <a:pt x="1688782" y="687705"/>
                  </a:lnTo>
                  <a:lnTo>
                    <a:pt x="1688782" y="222885"/>
                  </a:lnTo>
                  <a:close/>
                  <a:moveTo>
                    <a:pt x="862965" y="553403"/>
                  </a:moveTo>
                  <a:cubicBezTo>
                    <a:pt x="862965" y="481965"/>
                    <a:pt x="942975" y="473392"/>
                    <a:pt x="997268" y="473392"/>
                  </a:cubicBezTo>
                  <a:lnTo>
                    <a:pt x="1049655" y="473392"/>
                  </a:lnTo>
                  <a:cubicBezTo>
                    <a:pt x="1049655" y="509588"/>
                    <a:pt x="1043940" y="542925"/>
                    <a:pt x="1023938" y="569595"/>
                  </a:cubicBezTo>
                  <a:cubicBezTo>
                    <a:pt x="1004888" y="594360"/>
                    <a:pt x="976313" y="611505"/>
                    <a:pt x="939165" y="611505"/>
                  </a:cubicBezTo>
                  <a:cubicBezTo>
                    <a:pt x="896302" y="610553"/>
                    <a:pt x="862965" y="593408"/>
                    <a:pt x="862965" y="553403"/>
                  </a:cubicBezTo>
                  <a:moveTo>
                    <a:pt x="801052" y="351473"/>
                  </a:moveTo>
                  <a:cubicBezTo>
                    <a:pt x="842010" y="320993"/>
                    <a:pt x="893445" y="300990"/>
                    <a:pt x="944880" y="300990"/>
                  </a:cubicBezTo>
                  <a:cubicBezTo>
                    <a:pt x="1016318" y="300990"/>
                    <a:pt x="1049655" y="326708"/>
                    <a:pt x="1049655" y="401003"/>
                  </a:cubicBezTo>
                  <a:lnTo>
                    <a:pt x="982980" y="401003"/>
                  </a:lnTo>
                  <a:cubicBezTo>
                    <a:pt x="932497" y="401003"/>
                    <a:pt x="872490" y="405765"/>
                    <a:pt x="826770" y="427673"/>
                  </a:cubicBezTo>
                  <a:cubicBezTo>
                    <a:pt x="781050" y="450533"/>
                    <a:pt x="747713" y="490538"/>
                    <a:pt x="747713" y="561023"/>
                  </a:cubicBezTo>
                  <a:cubicBezTo>
                    <a:pt x="747713" y="649605"/>
                    <a:pt x="827722" y="699135"/>
                    <a:pt x="910590" y="699135"/>
                  </a:cubicBezTo>
                  <a:cubicBezTo>
                    <a:pt x="965835" y="699135"/>
                    <a:pt x="1025843" y="670560"/>
                    <a:pt x="1054418" y="619125"/>
                  </a:cubicBezTo>
                  <a:lnTo>
                    <a:pt x="1056323" y="619125"/>
                  </a:lnTo>
                  <a:cubicBezTo>
                    <a:pt x="1057275" y="633413"/>
                    <a:pt x="1057275" y="663893"/>
                    <a:pt x="1062038" y="688658"/>
                  </a:cubicBezTo>
                  <a:lnTo>
                    <a:pt x="1168718" y="688658"/>
                  </a:lnTo>
                  <a:cubicBezTo>
                    <a:pt x="1165860" y="652463"/>
                    <a:pt x="1163955" y="620078"/>
                    <a:pt x="1163002" y="584835"/>
                  </a:cubicBezTo>
                  <a:cubicBezTo>
                    <a:pt x="1162050" y="550545"/>
                    <a:pt x="1161098" y="515303"/>
                    <a:pt x="1161098" y="468630"/>
                  </a:cubicBezTo>
                  <a:lnTo>
                    <a:pt x="1161098" y="408623"/>
                  </a:lnTo>
                  <a:cubicBezTo>
                    <a:pt x="1161098" y="271463"/>
                    <a:pt x="1102043" y="212408"/>
                    <a:pt x="960120" y="212408"/>
                  </a:cubicBezTo>
                  <a:cubicBezTo>
                    <a:pt x="908685" y="212408"/>
                    <a:pt x="845820" y="225743"/>
                    <a:pt x="798195" y="247650"/>
                  </a:cubicBezTo>
                  <a:lnTo>
                    <a:pt x="801052" y="351473"/>
                  </a:lnTo>
                  <a:close/>
                  <a:moveTo>
                    <a:pt x="437197" y="688658"/>
                  </a:moveTo>
                  <a:lnTo>
                    <a:pt x="558165" y="688658"/>
                  </a:lnTo>
                  <a:lnTo>
                    <a:pt x="558165" y="517208"/>
                  </a:lnTo>
                  <a:cubicBezTo>
                    <a:pt x="558165" y="450533"/>
                    <a:pt x="558165" y="327660"/>
                    <a:pt x="656272" y="327660"/>
                  </a:cubicBezTo>
                  <a:cubicBezTo>
                    <a:pt x="678180" y="327660"/>
                    <a:pt x="700088" y="331470"/>
                    <a:pt x="710565" y="337185"/>
                  </a:cubicBezTo>
                  <a:lnTo>
                    <a:pt x="710565" y="216218"/>
                  </a:lnTo>
                  <a:cubicBezTo>
                    <a:pt x="698182" y="212408"/>
                    <a:pt x="684847" y="212408"/>
                    <a:pt x="673418" y="212408"/>
                  </a:cubicBezTo>
                  <a:cubicBezTo>
                    <a:pt x="601027" y="212408"/>
                    <a:pt x="551497" y="285750"/>
                    <a:pt x="545782" y="328613"/>
                  </a:cubicBezTo>
                  <a:lnTo>
                    <a:pt x="543877" y="328613"/>
                  </a:lnTo>
                  <a:lnTo>
                    <a:pt x="543877" y="222885"/>
                  </a:lnTo>
                  <a:lnTo>
                    <a:pt x="437197" y="222885"/>
                  </a:lnTo>
                  <a:lnTo>
                    <a:pt x="437197" y="688658"/>
                  </a:lnTo>
                  <a:close/>
                  <a:moveTo>
                    <a:pt x="0" y="688658"/>
                  </a:moveTo>
                  <a:lnTo>
                    <a:pt x="126682" y="688658"/>
                  </a:lnTo>
                  <a:lnTo>
                    <a:pt x="126682" y="412433"/>
                  </a:lnTo>
                  <a:lnTo>
                    <a:pt x="340042" y="412433"/>
                  </a:lnTo>
                  <a:lnTo>
                    <a:pt x="340042" y="312420"/>
                  </a:lnTo>
                  <a:lnTo>
                    <a:pt x="126682" y="312420"/>
                  </a:lnTo>
                  <a:lnTo>
                    <a:pt x="126682" y="157163"/>
                  </a:lnTo>
                  <a:lnTo>
                    <a:pt x="350520" y="157163"/>
                  </a:lnTo>
                  <a:lnTo>
                    <a:pt x="350520" y="58102"/>
                  </a:lnTo>
                  <a:lnTo>
                    <a:pt x="0" y="58102"/>
                  </a:lnTo>
                  <a:lnTo>
                    <a:pt x="0" y="688658"/>
                  </a:ln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/>
            </a:p>
          </p:txBody>
        </p:sp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7DDE8223-6EE4-45C1-83AB-384C7B2B72AB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10461759" y="5587159"/>
              <a:ext cx="17402" cy="95710"/>
            </a:xfrm>
            <a:custGeom>
              <a:avLst/>
              <a:gdLst>
                <a:gd name="connsiteX0" fmla="*/ 0 w 57150"/>
                <a:gd name="connsiteY0" fmla="*/ 0 h 314325"/>
                <a:gd name="connsiteX1" fmla="*/ 62865 w 57150"/>
                <a:gd name="connsiteY1" fmla="*/ 0 h 314325"/>
                <a:gd name="connsiteX2" fmla="*/ 62865 w 57150"/>
                <a:gd name="connsiteY2" fmla="*/ 314325 h 314325"/>
                <a:gd name="connsiteX3" fmla="*/ 0 w 57150"/>
                <a:gd name="connsiteY3" fmla="*/ 314325 h 314325"/>
                <a:gd name="connsiteX4" fmla="*/ 0 w 57150"/>
                <a:gd name="connsiteY4" fmla="*/ 0 h 314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14325">
                  <a:moveTo>
                    <a:pt x="0" y="0"/>
                  </a:moveTo>
                  <a:lnTo>
                    <a:pt x="62865" y="0"/>
                  </a:lnTo>
                  <a:lnTo>
                    <a:pt x="62865" y="314325"/>
                  </a:lnTo>
                  <a:lnTo>
                    <a:pt x="0" y="31432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34AA1A7B-818E-44D7-8258-6CDC5DCEC873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10507294" y="5587159"/>
              <a:ext cx="55105" cy="95710"/>
            </a:xfrm>
            <a:custGeom>
              <a:avLst/>
              <a:gdLst>
                <a:gd name="connsiteX0" fmla="*/ 0 w 180975"/>
                <a:gd name="connsiteY0" fmla="*/ 0 h 314325"/>
                <a:gd name="connsiteX1" fmla="*/ 185738 w 180975"/>
                <a:gd name="connsiteY1" fmla="*/ 0 h 314325"/>
                <a:gd name="connsiteX2" fmla="*/ 185738 w 180975"/>
                <a:gd name="connsiteY2" fmla="*/ 49530 h 314325"/>
                <a:gd name="connsiteX3" fmla="*/ 62865 w 180975"/>
                <a:gd name="connsiteY3" fmla="*/ 49530 h 314325"/>
                <a:gd name="connsiteX4" fmla="*/ 62865 w 180975"/>
                <a:gd name="connsiteY4" fmla="*/ 126682 h 314325"/>
                <a:gd name="connsiteX5" fmla="*/ 175260 w 180975"/>
                <a:gd name="connsiteY5" fmla="*/ 126682 h 314325"/>
                <a:gd name="connsiteX6" fmla="*/ 175260 w 180975"/>
                <a:gd name="connsiteY6" fmla="*/ 176213 h 314325"/>
                <a:gd name="connsiteX7" fmla="*/ 62865 w 180975"/>
                <a:gd name="connsiteY7" fmla="*/ 176213 h 314325"/>
                <a:gd name="connsiteX8" fmla="*/ 62865 w 180975"/>
                <a:gd name="connsiteY8" fmla="*/ 264795 h 314325"/>
                <a:gd name="connsiteX9" fmla="*/ 186690 w 180975"/>
                <a:gd name="connsiteY9" fmla="*/ 264795 h 314325"/>
                <a:gd name="connsiteX10" fmla="*/ 186690 w 180975"/>
                <a:gd name="connsiteY10" fmla="*/ 314325 h 314325"/>
                <a:gd name="connsiteX11" fmla="*/ 0 w 180975"/>
                <a:gd name="connsiteY11" fmla="*/ 314325 h 314325"/>
                <a:gd name="connsiteX12" fmla="*/ 0 w 180975"/>
                <a:gd name="connsiteY12" fmla="*/ 0 h 314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0975" h="314325">
                  <a:moveTo>
                    <a:pt x="0" y="0"/>
                  </a:moveTo>
                  <a:lnTo>
                    <a:pt x="185738" y="0"/>
                  </a:lnTo>
                  <a:lnTo>
                    <a:pt x="185738" y="49530"/>
                  </a:lnTo>
                  <a:lnTo>
                    <a:pt x="62865" y="49530"/>
                  </a:lnTo>
                  <a:lnTo>
                    <a:pt x="62865" y="126682"/>
                  </a:lnTo>
                  <a:lnTo>
                    <a:pt x="175260" y="126682"/>
                  </a:lnTo>
                  <a:lnTo>
                    <a:pt x="175260" y="176213"/>
                  </a:lnTo>
                  <a:lnTo>
                    <a:pt x="62865" y="176213"/>
                  </a:lnTo>
                  <a:lnTo>
                    <a:pt x="62865" y="264795"/>
                  </a:lnTo>
                  <a:lnTo>
                    <a:pt x="186690" y="264795"/>
                  </a:lnTo>
                  <a:lnTo>
                    <a:pt x="186690" y="314325"/>
                  </a:lnTo>
                  <a:lnTo>
                    <a:pt x="0" y="31432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/>
            </a:p>
          </p:txBody>
        </p:sp>
        <p:sp>
          <p:nvSpPr>
            <p:cNvPr id="24" name="Freihandform: Form 23">
              <a:extLst>
                <a:ext uri="{FF2B5EF4-FFF2-40B4-BE49-F238E27FC236}">
                  <a16:creationId xmlns:a16="http://schemas.microsoft.com/office/drawing/2014/main" id="{22C24882-FC51-405B-B4E3-4BC972934F18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10588213" y="5587159"/>
              <a:ext cx="107311" cy="95710"/>
            </a:xfrm>
            <a:custGeom>
              <a:avLst/>
              <a:gdLst>
                <a:gd name="connsiteX0" fmla="*/ 0 w 352425"/>
                <a:gd name="connsiteY0" fmla="*/ 0 h 314325"/>
                <a:gd name="connsiteX1" fmla="*/ 100965 w 352425"/>
                <a:gd name="connsiteY1" fmla="*/ 0 h 314325"/>
                <a:gd name="connsiteX2" fmla="*/ 176213 w 352425"/>
                <a:gd name="connsiteY2" fmla="*/ 238125 h 314325"/>
                <a:gd name="connsiteX3" fmla="*/ 177165 w 352425"/>
                <a:gd name="connsiteY3" fmla="*/ 238125 h 314325"/>
                <a:gd name="connsiteX4" fmla="*/ 252413 w 352425"/>
                <a:gd name="connsiteY4" fmla="*/ 0 h 314325"/>
                <a:gd name="connsiteX5" fmla="*/ 353378 w 352425"/>
                <a:gd name="connsiteY5" fmla="*/ 0 h 314325"/>
                <a:gd name="connsiteX6" fmla="*/ 353378 w 352425"/>
                <a:gd name="connsiteY6" fmla="*/ 314325 h 314325"/>
                <a:gd name="connsiteX7" fmla="*/ 292418 w 352425"/>
                <a:gd name="connsiteY7" fmla="*/ 314325 h 314325"/>
                <a:gd name="connsiteX8" fmla="*/ 292418 w 352425"/>
                <a:gd name="connsiteY8" fmla="*/ 54292 h 314325"/>
                <a:gd name="connsiteX9" fmla="*/ 291465 w 352425"/>
                <a:gd name="connsiteY9" fmla="*/ 54292 h 314325"/>
                <a:gd name="connsiteX10" fmla="*/ 206693 w 352425"/>
                <a:gd name="connsiteY10" fmla="*/ 314325 h 314325"/>
                <a:gd name="connsiteX11" fmla="*/ 146685 w 352425"/>
                <a:gd name="connsiteY11" fmla="*/ 314325 h 314325"/>
                <a:gd name="connsiteX12" fmla="*/ 61913 w 352425"/>
                <a:gd name="connsiteY12" fmla="*/ 54292 h 314325"/>
                <a:gd name="connsiteX13" fmla="*/ 60960 w 352425"/>
                <a:gd name="connsiteY13" fmla="*/ 55245 h 314325"/>
                <a:gd name="connsiteX14" fmla="*/ 60960 w 352425"/>
                <a:gd name="connsiteY14" fmla="*/ 314325 h 314325"/>
                <a:gd name="connsiteX15" fmla="*/ 953 w 352425"/>
                <a:gd name="connsiteY15" fmla="*/ 314325 h 314325"/>
                <a:gd name="connsiteX16" fmla="*/ 953 w 352425"/>
                <a:gd name="connsiteY16" fmla="*/ 0 h 314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52425" h="314325">
                  <a:moveTo>
                    <a:pt x="0" y="0"/>
                  </a:moveTo>
                  <a:lnTo>
                    <a:pt x="100965" y="0"/>
                  </a:lnTo>
                  <a:lnTo>
                    <a:pt x="176213" y="238125"/>
                  </a:lnTo>
                  <a:lnTo>
                    <a:pt x="177165" y="238125"/>
                  </a:lnTo>
                  <a:lnTo>
                    <a:pt x="252413" y="0"/>
                  </a:lnTo>
                  <a:lnTo>
                    <a:pt x="353378" y="0"/>
                  </a:lnTo>
                  <a:lnTo>
                    <a:pt x="353378" y="314325"/>
                  </a:lnTo>
                  <a:lnTo>
                    <a:pt x="292418" y="314325"/>
                  </a:lnTo>
                  <a:lnTo>
                    <a:pt x="292418" y="54292"/>
                  </a:lnTo>
                  <a:lnTo>
                    <a:pt x="291465" y="54292"/>
                  </a:lnTo>
                  <a:lnTo>
                    <a:pt x="206693" y="314325"/>
                  </a:lnTo>
                  <a:lnTo>
                    <a:pt x="146685" y="314325"/>
                  </a:lnTo>
                  <a:lnTo>
                    <a:pt x="61913" y="54292"/>
                  </a:lnTo>
                  <a:lnTo>
                    <a:pt x="60960" y="55245"/>
                  </a:lnTo>
                  <a:lnTo>
                    <a:pt x="60960" y="314325"/>
                  </a:lnTo>
                  <a:lnTo>
                    <a:pt x="953" y="314325"/>
                  </a:lnTo>
                  <a:lnTo>
                    <a:pt x="953" y="0"/>
                  </a:ln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/>
            </a:p>
          </p:txBody>
        </p:sp>
      </p:grpSp>
      <p:grpSp>
        <p:nvGrpSpPr>
          <p:cNvPr id="25" name="LOGO Heinz Nixdorf Institut - farbig">
            <a:extLst>
              <a:ext uri="{FF2B5EF4-FFF2-40B4-BE49-F238E27FC236}">
                <a16:creationId xmlns:a16="http://schemas.microsoft.com/office/drawing/2014/main" id="{4A26B850-8ABA-4F2E-862D-772EEA086990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8370060" y="6345575"/>
            <a:ext cx="1490340" cy="232859"/>
            <a:chOff x="-1" y="-2228542"/>
            <a:chExt cx="12188517" cy="1904397"/>
          </a:xfrm>
        </p:grpSpPr>
        <p:grpSp>
          <p:nvGrpSpPr>
            <p:cNvPr id="26" name="Gruppieren 25">
              <a:extLst>
                <a:ext uri="{FF2B5EF4-FFF2-40B4-BE49-F238E27FC236}">
                  <a16:creationId xmlns:a16="http://schemas.microsoft.com/office/drawing/2014/main" id="{13B6F0F8-9826-443F-B168-9CC57A334C80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-1" y="-2228542"/>
              <a:ext cx="12188517" cy="799107"/>
              <a:chOff x="-1" y="-2228542"/>
              <a:chExt cx="12188517" cy="799107"/>
            </a:xfrm>
            <a:solidFill>
              <a:schemeClr val="tx2"/>
            </a:solidFill>
          </p:grpSpPr>
          <p:sp>
            <p:nvSpPr>
              <p:cNvPr id="48" name="Freihandform: Form 47">
                <a:extLst>
                  <a:ext uri="{FF2B5EF4-FFF2-40B4-BE49-F238E27FC236}">
                    <a16:creationId xmlns:a16="http://schemas.microsoft.com/office/drawing/2014/main" id="{2A7D60DB-2F61-4062-AB84-8A31E57FEB2F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-1" y="-2218115"/>
                <a:ext cx="530842" cy="767825"/>
              </a:xfrm>
              <a:custGeom>
                <a:avLst/>
                <a:gdLst>
                  <a:gd name="connsiteX0" fmla="*/ 379173 w 530842"/>
                  <a:gd name="connsiteY0" fmla="*/ 776357 h 767825"/>
                  <a:gd name="connsiteX1" fmla="*/ 379173 w 530842"/>
                  <a:gd name="connsiteY1" fmla="*/ 430361 h 767825"/>
                  <a:gd name="connsiteX2" fmla="*/ 155461 w 530842"/>
                  <a:gd name="connsiteY2" fmla="*/ 430361 h 767825"/>
                  <a:gd name="connsiteX3" fmla="*/ 155461 w 530842"/>
                  <a:gd name="connsiteY3" fmla="*/ 776357 h 767825"/>
                  <a:gd name="connsiteX4" fmla="*/ 0 w 530842"/>
                  <a:gd name="connsiteY4" fmla="*/ 776357 h 767825"/>
                  <a:gd name="connsiteX5" fmla="*/ 0 w 530842"/>
                  <a:gd name="connsiteY5" fmla="*/ 0 h 767825"/>
                  <a:gd name="connsiteX6" fmla="*/ 155461 w 530842"/>
                  <a:gd name="connsiteY6" fmla="*/ 0 h 767825"/>
                  <a:gd name="connsiteX7" fmla="*/ 155461 w 530842"/>
                  <a:gd name="connsiteY7" fmla="*/ 301443 h 767825"/>
                  <a:gd name="connsiteX8" fmla="*/ 379173 w 530842"/>
                  <a:gd name="connsiteY8" fmla="*/ 301443 h 767825"/>
                  <a:gd name="connsiteX9" fmla="*/ 379173 w 530842"/>
                  <a:gd name="connsiteY9" fmla="*/ 0 h 767825"/>
                  <a:gd name="connsiteX10" fmla="*/ 537478 w 530842"/>
                  <a:gd name="connsiteY10" fmla="*/ 0 h 767825"/>
                  <a:gd name="connsiteX11" fmla="*/ 537478 w 530842"/>
                  <a:gd name="connsiteY11" fmla="*/ 776357 h 767825"/>
                  <a:gd name="connsiteX12" fmla="*/ 379173 w 530842"/>
                  <a:gd name="connsiteY12" fmla="*/ 776357 h 767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30842" h="767825">
                    <a:moveTo>
                      <a:pt x="379173" y="776357"/>
                    </a:moveTo>
                    <a:lnTo>
                      <a:pt x="379173" y="430361"/>
                    </a:lnTo>
                    <a:lnTo>
                      <a:pt x="155461" y="430361"/>
                    </a:lnTo>
                    <a:lnTo>
                      <a:pt x="155461" y="776357"/>
                    </a:lnTo>
                    <a:lnTo>
                      <a:pt x="0" y="776357"/>
                    </a:lnTo>
                    <a:lnTo>
                      <a:pt x="0" y="0"/>
                    </a:lnTo>
                    <a:lnTo>
                      <a:pt x="155461" y="0"/>
                    </a:lnTo>
                    <a:lnTo>
                      <a:pt x="155461" y="301443"/>
                    </a:lnTo>
                    <a:lnTo>
                      <a:pt x="379173" y="301443"/>
                    </a:lnTo>
                    <a:lnTo>
                      <a:pt x="379173" y="0"/>
                    </a:lnTo>
                    <a:lnTo>
                      <a:pt x="537478" y="0"/>
                    </a:lnTo>
                    <a:lnTo>
                      <a:pt x="537478" y="776357"/>
                    </a:lnTo>
                    <a:lnTo>
                      <a:pt x="379173" y="776357"/>
                    </a:lnTo>
                    <a:close/>
                  </a:path>
                </a:pathLst>
              </a:custGeom>
              <a:grpFill/>
              <a:ln w="9473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49" name="Freihandform: Form 48">
                <a:extLst>
                  <a:ext uri="{FF2B5EF4-FFF2-40B4-BE49-F238E27FC236}">
                    <a16:creationId xmlns:a16="http://schemas.microsoft.com/office/drawing/2014/main" id="{8E3FEBDC-8D67-4A13-9D03-E737BAB2C8F6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705261" y="-2218115"/>
                <a:ext cx="445528" cy="767825"/>
              </a:xfrm>
              <a:custGeom>
                <a:avLst/>
                <a:gdLst>
                  <a:gd name="connsiteX0" fmla="*/ 0 w 445528"/>
                  <a:gd name="connsiteY0" fmla="*/ 776357 h 767825"/>
                  <a:gd name="connsiteX1" fmla="*/ 0 w 445528"/>
                  <a:gd name="connsiteY1" fmla="*/ 0 h 767825"/>
                  <a:gd name="connsiteX2" fmla="*/ 441737 w 445528"/>
                  <a:gd name="connsiteY2" fmla="*/ 0 h 767825"/>
                  <a:gd name="connsiteX3" fmla="*/ 421830 w 445528"/>
                  <a:gd name="connsiteY3" fmla="*/ 127023 h 767825"/>
                  <a:gd name="connsiteX4" fmla="*/ 156409 w 445528"/>
                  <a:gd name="connsiteY4" fmla="*/ 127023 h 767825"/>
                  <a:gd name="connsiteX5" fmla="*/ 156409 w 445528"/>
                  <a:gd name="connsiteY5" fmla="*/ 307130 h 767825"/>
                  <a:gd name="connsiteX6" fmla="*/ 379173 w 445528"/>
                  <a:gd name="connsiteY6" fmla="*/ 307130 h 767825"/>
                  <a:gd name="connsiteX7" fmla="*/ 379173 w 445528"/>
                  <a:gd name="connsiteY7" fmla="*/ 434153 h 767825"/>
                  <a:gd name="connsiteX8" fmla="*/ 158305 w 445528"/>
                  <a:gd name="connsiteY8" fmla="*/ 434153 h 767825"/>
                  <a:gd name="connsiteX9" fmla="*/ 158305 w 445528"/>
                  <a:gd name="connsiteY9" fmla="*/ 641750 h 767825"/>
                  <a:gd name="connsiteX10" fmla="*/ 452164 w 445528"/>
                  <a:gd name="connsiteY10" fmla="*/ 641750 h 767825"/>
                  <a:gd name="connsiteX11" fmla="*/ 452164 w 445528"/>
                  <a:gd name="connsiteY11" fmla="*/ 776357 h 767825"/>
                  <a:gd name="connsiteX12" fmla="*/ 0 w 445528"/>
                  <a:gd name="connsiteY12" fmla="*/ 776357 h 767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5528" h="767825">
                    <a:moveTo>
                      <a:pt x="0" y="776357"/>
                    </a:moveTo>
                    <a:lnTo>
                      <a:pt x="0" y="0"/>
                    </a:lnTo>
                    <a:lnTo>
                      <a:pt x="441737" y="0"/>
                    </a:lnTo>
                    <a:lnTo>
                      <a:pt x="421830" y="127023"/>
                    </a:lnTo>
                    <a:lnTo>
                      <a:pt x="156409" y="127023"/>
                    </a:lnTo>
                    <a:lnTo>
                      <a:pt x="156409" y="307130"/>
                    </a:lnTo>
                    <a:lnTo>
                      <a:pt x="379173" y="307130"/>
                    </a:lnTo>
                    <a:lnTo>
                      <a:pt x="379173" y="434153"/>
                    </a:lnTo>
                    <a:lnTo>
                      <a:pt x="158305" y="434153"/>
                    </a:lnTo>
                    <a:lnTo>
                      <a:pt x="158305" y="641750"/>
                    </a:lnTo>
                    <a:lnTo>
                      <a:pt x="452164" y="641750"/>
                    </a:lnTo>
                    <a:lnTo>
                      <a:pt x="452164" y="776357"/>
                    </a:lnTo>
                    <a:lnTo>
                      <a:pt x="0" y="776357"/>
                    </a:lnTo>
                    <a:close/>
                  </a:path>
                </a:pathLst>
              </a:custGeom>
              <a:grpFill/>
              <a:ln w="9473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50" name="Freihandform: Form 49">
                <a:extLst>
                  <a:ext uri="{FF2B5EF4-FFF2-40B4-BE49-F238E27FC236}">
                    <a16:creationId xmlns:a16="http://schemas.microsoft.com/office/drawing/2014/main" id="{86180B14-77D0-40B0-84E1-9D545E254EE5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1269281" y="-2218115"/>
                <a:ext cx="161149" cy="767825"/>
              </a:xfrm>
              <a:custGeom>
                <a:avLst/>
                <a:gdLst>
                  <a:gd name="connsiteX0" fmla="*/ 0 w 161148"/>
                  <a:gd name="connsiteY0" fmla="*/ 776357 h 767825"/>
                  <a:gd name="connsiteX1" fmla="*/ 0 w 161148"/>
                  <a:gd name="connsiteY1" fmla="*/ 0 h 767825"/>
                  <a:gd name="connsiteX2" fmla="*/ 163045 w 161148"/>
                  <a:gd name="connsiteY2" fmla="*/ 0 h 767825"/>
                  <a:gd name="connsiteX3" fmla="*/ 163045 w 161148"/>
                  <a:gd name="connsiteY3" fmla="*/ 776357 h 767825"/>
                  <a:gd name="connsiteX4" fmla="*/ 0 w 161148"/>
                  <a:gd name="connsiteY4" fmla="*/ 776357 h 767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1148" h="767825">
                    <a:moveTo>
                      <a:pt x="0" y="776357"/>
                    </a:moveTo>
                    <a:lnTo>
                      <a:pt x="0" y="0"/>
                    </a:lnTo>
                    <a:lnTo>
                      <a:pt x="163045" y="0"/>
                    </a:lnTo>
                    <a:lnTo>
                      <a:pt x="163045" y="776357"/>
                    </a:lnTo>
                    <a:lnTo>
                      <a:pt x="0" y="776357"/>
                    </a:lnTo>
                    <a:close/>
                  </a:path>
                </a:pathLst>
              </a:custGeom>
              <a:grpFill/>
              <a:ln w="9473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51" name="Freihandform: Form 50">
                <a:extLst>
                  <a:ext uri="{FF2B5EF4-FFF2-40B4-BE49-F238E27FC236}">
                    <a16:creationId xmlns:a16="http://schemas.microsoft.com/office/drawing/2014/main" id="{DDFC6E55-02EC-40E0-B9FC-E6835BA1E1BA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1600109" y="-2218115"/>
                <a:ext cx="530842" cy="767825"/>
              </a:xfrm>
              <a:custGeom>
                <a:avLst/>
                <a:gdLst>
                  <a:gd name="connsiteX0" fmla="*/ 376329 w 530842"/>
                  <a:gd name="connsiteY0" fmla="*/ 776357 h 767825"/>
                  <a:gd name="connsiteX1" fmla="*/ 243619 w 530842"/>
                  <a:gd name="connsiteY1" fmla="*/ 478706 h 767825"/>
                  <a:gd name="connsiteX2" fmla="*/ 138398 w 530842"/>
                  <a:gd name="connsiteY2" fmla="*/ 223712 h 767825"/>
                  <a:gd name="connsiteX3" fmla="*/ 145982 w 530842"/>
                  <a:gd name="connsiteY3" fmla="*/ 443632 h 767825"/>
                  <a:gd name="connsiteX4" fmla="*/ 150721 w 530842"/>
                  <a:gd name="connsiteY4" fmla="*/ 775409 h 767825"/>
                  <a:gd name="connsiteX5" fmla="*/ 0 w 530842"/>
                  <a:gd name="connsiteY5" fmla="*/ 775409 h 767825"/>
                  <a:gd name="connsiteX6" fmla="*/ 0 w 530842"/>
                  <a:gd name="connsiteY6" fmla="*/ 0 h 767825"/>
                  <a:gd name="connsiteX7" fmla="*/ 172524 w 530842"/>
                  <a:gd name="connsiteY7" fmla="*/ 0 h 767825"/>
                  <a:gd name="connsiteX8" fmla="*/ 321349 w 530842"/>
                  <a:gd name="connsiteY8" fmla="*/ 310922 h 767825"/>
                  <a:gd name="connsiteX9" fmla="*/ 406663 w 530842"/>
                  <a:gd name="connsiteY9" fmla="*/ 530842 h 767825"/>
                  <a:gd name="connsiteX10" fmla="*/ 394340 w 530842"/>
                  <a:gd name="connsiteY10" fmla="*/ 317557 h 767825"/>
                  <a:gd name="connsiteX11" fmla="*/ 390548 w 530842"/>
                  <a:gd name="connsiteY11" fmla="*/ 0 h 767825"/>
                  <a:gd name="connsiteX12" fmla="*/ 539374 w 530842"/>
                  <a:gd name="connsiteY12" fmla="*/ 0 h 767825"/>
                  <a:gd name="connsiteX13" fmla="*/ 539374 w 530842"/>
                  <a:gd name="connsiteY13" fmla="*/ 776357 h 767825"/>
                  <a:gd name="connsiteX14" fmla="*/ 376329 w 530842"/>
                  <a:gd name="connsiteY14" fmla="*/ 776357 h 767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30842" h="767825">
                    <a:moveTo>
                      <a:pt x="376329" y="776357"/>
                    </a:moveTo>
                    <a:lnTo>
                      <a:pt x="243619" y="478706"/>
                    </a:lnTo>
                    <a:cubicBezTo>
                      <a:pt x="200014" y="381069"/>
                      <a:pt x="153565" y="272057"/>
                      <a:pt x="138398" y="223712"/>
                    </a:cubicBezTo>
                    <a:cubicBezTo>
                      <a:pt x="144086" y="287224"/>
                      <a:pt x="145034" y="379173"/>
                      <a:pt x="145982" y="443632"/>
                    </a:cubicBezTo>
                    <a:lnTo>
                      <a:pt x="150721" y="775409"/>
                    </a:lnTo>
                    <a:lnTo>
                      <a:pt x="0" y="775409"/>
                    </a:lnTo>
                    <a:lnTo>
                      <a:pt x="0" y="0"/>
                    </a:lnTo>
                    <a:lnTo>
                      <a:pt x="172524" y="0"/>
                    </a:lnTo>
                    <a:lnTo>
                      <a:pt x="321349" y="310922"/>
                    </a:lnTo>
                    <a:cubicBezTo>
                      <a:pt x="360214" y="393392"/>
                      <a:pt x="390548" y="474914"/>
                      <a:pt x="406663" y="530842"/>
                    </a:cubicBezTo>
                    <a:cubicBezTo>
                      <a:pt x="400976" y="470174"/>
                      <a:pt x="395288" y="370642"/>
                      <a:pt x="394340" y="317557"/>
                    </a:cubicBezTo>
                    <a:lnTo>
                      <a:pt x="390548" y="0"/>
                    </a:lnTo>
                    <a:lnTo>
                      <a:pt x="539374" y="0"/>
                    </a:lnTo>
                    <a:lnTo>
                      <a:pt x="539374" y="776357"/>
                    </a:lnTo>
                    <a:lnTo>
                      <a:pt x="376329" y="776357"/>
                    </a:lnTo>
                    <a:close/>
                  </a:path>
                </a:pathLst>
              </a:custGeom>
              <a:grpFill/>
              <a:ln w="9473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52" name="Freihandform: Form 51">
                <a:extLst>
                  <a:ext uri="{FF2B5EF4-FFF2-40B4-BE49-F238E27FC236}">
                    <a16:creationId xmlns:a16="http://schemas.microsoft.com/office/drawing/2014/main" id="{C2697C8E-B2FF-4013-BB3E-F49286BEF762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2262714" y="-2218115"/>
                <a:ext cx="521363" cy="767825"/>
              </a:xfrm>
              <a:custGeom>
                <a:avLst/>
                <a:gdLst>
                  <a:gd name="connsiteX0" fmla="*/ 484393 w 521362"/>
                  <a:gd name="connsiteY0" fmla="*/ 776357 h 767825"/>
                  <a:gd name="connsiteX1" fmla="*/ 0 w 521362"/>
                  <a:gd name="connsiteY1" fmla="*/ 776357 h 767825"/>
                  <a:gd name="connsiteX2" fmla="*/ 0 w 521362"/>
                  <a:gd name="connsiteY2" fmla="*/ 666396 h 767825"/>
                  <a:gd name="connsiteX3" fmla="*/ 286276 w 521362"/>
                  <a:gd name="connsiteY3" fmla="*/ 194326 h 767825"/>
                  <a:gd name="connsiteX4" fmla="*/ 334620 w 521362"/>
                  <a:gd name="connsiteY4" fmla="*/ 124179 h 767825"/>
                  <a:gd name="connsiteX5" fmla="*/ 254994 w 521362"/>
                  <a:gd name="connsiteY5" fmla="*/ 129867 h 767825"/>
                  <a:gd name="connsiteX6" fmla="*/ 16115 w 521362"/>
                  <a:gd name="connsiteY6" fmla="*/ 129867 h 767825"/>
                  <a:gd name="connsiteX7" fmla="*/ 50240 w 521362"/>
                  <a:gd name="connsiteY7" fmla="*/ 0 h 767825"/>
                  <a:gd name="connsiteX8" fmla="*/ 514727 w 521362"/>
                  <a:gd name="connsiteY8" fmla="*/ 0 h 767825"/>
                  <a:gd name="connsiteX9" fmla="*/ 514727 w 521362"/>
                  <a:gd name="connsiteY9" fmla="*/ 112804 h 767825"/>
                  <a:gd name="connsiteX10" fmla="*/ 226556 w 521362"/>
                  <a:gd name="connsiteY10" fmla="*/ 599093 h 767825"/>
                  <a:gd name="connsiteX11" fmla="*/ 186743 w 521362"/>
                  <a:gd name="connsiteY11" fmla="*/ 654073 h 767825"/>
                  <a:gd name="connsiteX12" fmla="*/ 263525 w 521362"/>
                  <a:gd name="connsiteY12" fmla="*/ 649334 h 767825"/>
                  <a:gd name="connsiteX13" fmla="*/ 525155 w 521362"/>
                  <a:gd name="connsiteY13" fmla="*/ 649334 h 767825"/>
                  <a:gd name="connsiteX14" fmla="*/ 484393 w 521362"/>
                  <a:gd name="connsiteY14" fmla="*/ 776357 h 767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21362" h="767825">
                    <a:moveTo>
                      <a:pt x="484393" y="776357"/>
                    </a:moveTo>
                    <a:lnTo>
                      <a:pt x="0" y="776357"/>
                    </a:lnTo>
                    <a:lnTo>
                      <a:pt x="0" y="666396"/>
                    </a:lnTo>
                    <a:lnTo>
                      <a:pt x="286276" y="194326"/>
                    </a:lnTo>
                    <a:cubicBezTo>
                      <a:pt x="307130" y="158305"/>
                      <a:pt x="334620" y="124179"/>
                      <a:pt x="334620" y="124179"/>
                    </a:cubicBezTo>
                    <a:cubicBezTo>
                      <a:pt x="334620" y="124179"/>
                      <a:pt x="302391" y="129867"/>
                      <a:pt x="254994" y="129867"/>
                    </a:cubicBezTo>
                    <a:lnTo>
                      <a:pt x="16115" y="129867"/>
                    </a:lnTo>
                    <a:lnTo>
                      <a:pt x="50240" y="0"/>
                    </a:lnTo>
                    <a:lnTo>
                      <a:pt x="514727" y="0"/>
                    </a:lnTo>
                    <a:lnTo>
                      <a:pt x="514727" y="112804"/>
                    </a:lnTo>
                    <a:lnTo>
                      <a:pt x="226556" y="599093"/>
                    </a:lnTo>
                    <a:cubicBezTo>
                      <a:pt x="209493" y="626583"/>
                      <a:pt x="186743" y="654073"/>
                      <a:pt x="186743" y="654073"/>
                    </a:cubicBezTo>
                    <a:cubicBezTo>
                      <a:pt x="186743" y="654073"/>
                      <a:pt x="232244" y="649334"/>
                      <a:pt x="263525" y="649334"/>
                    </a:cubicBezTo>
                    <a:lnTo>
                      <a:pt x="525155" y="649334"/>
                    </a:lnTo>
                    <a:lnTo>
                      <a:pt x="484393" y="776357"/>
                    </a:lnTo>
                    <a:close/>
                  </a:path>
                </a:pathLst>
              </a:custGeom>
              <a:grpFill/>
              <a:ln w="9473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53" name="Freihandform: Form 52">
                <a:extLst>
                  <a:ext uri="{FF2B5EF4-FFF2-40B4-BE49-F238E27FC236}">
                    <a16:creationId xmlns:a16="http://schemas.microsoft.com/office/drawing/2014/main" id="{F722A115-BD68-470F-9F3E-5D2A18CD19BE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3162302" y="-2218115"/>
                <a:ext cx="540322" cy="767825"/>
              </a:xfrm>
              <a:custGeom>
                <a:avLst/>
                <a:gdLst>
                  <a:gd name="connsiteX0" fmla="*/ 376329 w 540321"/>
                  <a:gd name="connsiteY0" fmla="*/ 776357 h 767825"/>
                  <a:gd name="connsiteX1" fmla="*/ 243619 w 540321"/>
                  <a:gd name="connsiteY1" fmla="*/ 478706 h 767825"/>
                  <a:gd name="connsiteX2" fmla="*/ 138398 w 540321"/>
                  <a:gd name="connsiteY2" fmla="*/ 223712 h 767825"/>
                  <a:gd name="connsiteX3" fmla="*/ 145982 w 540321"/>
                  <a:gd name="connsiteY3" fmla="*/ 443632 h 767825"/>
                  <a:gd name="connsiteX4" fmla="*/ 150721 w 540321"/>
                  <a:gd name="connsiteY4" fmla="*/ 775409 h 767825"/>
                  <a:gd name="connsiteX5" fmla="*/ 0 w 540321"/>
                  <a:gd name="connsiteY5" fmla="*/ 775409 h 767825"/>
                  <a:gd name="connsiteX6" fmla="*/ 0 w 540321"/>
                  <a:gd name="connsiteY6" fmla="*/ 0 h 767825"/>
                  <a:gd name="connsiteX7" fmla="*/ 173472 w 540321"/>
                  <a:gd name="connsiteY7" fmla="*/ 0 h 767825"/>
                  <a:gd name="connsiteX8" fmla="*/ 322297 w 540321"/>
                  <a:gd name="connsiteY8" fmla="*/ 310922 h 767825"/>
                  <a:gd name="connsiteX9" fmla="*/ 407611 w 540321"/>
                  <a:gd name="connsiteY9" fmla="*/ 530842 h 767825"/>
                  <a:gd name="connsiteX10" fmla="*/ 395288 w 540321"/>
                  <a:gd name="connsiteY10" fmla="*/ 317557 h 767825"/>
                  <a:gd name="connsiteX11" fmla="*/ 391496 w 540321"/>
                  <a:gd name="connsiteY11" fmla="*/ 0 h 767825"/>
                  <a:gd name="connsiteX12" fmla="*/ 540322 w 540321"/>
                  <a:gd name="connsiteY12" fmla="*/ 0 h 767825"/>
                  <a:gd name="connsiteX13" fmla="*/ 540322 w 540321"/>
                  <a:gd name="connsiteY13" fmla="*/ 776357 h 767825"/>
                  <a:gd name="connsiteX14" fmla="*/ 376329 w 540321"/>
                  <a:gd name="connsiteY14" fmla="*/ 776357 h 767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40321" h="767825">
                    <a:moveTo>
                      <a:pt x="376329" y="776357"/>
                    </a:moveTo>
                    <a:lnTo>
                      <a:pt x="243619" y="478706"/>
                    </a:lnTo>
                    <a:cubicBezTo>
                      <a:pt x="200014" y="381069"/>
                      <a:pt x="153565" y="272057"/>
                      <a:pt x="138398" y="223712"/>
                    </a:cubicBezTo>
                    <a:cubicBezTo>
                      <a:pt x="144086" y="287224"/>
                      <a:pt x="145034" y="379173"/>
                      <a:pt x="145982" y="443632"/>
                    </a:cubicBezTo>
                    <a:lnTo>
                      <a:pt x="150721" y="775409"/>
                    </a:lnTo>
                    <a:lnTo>
                      <a:pt x="0" y="775409"/>
                    </a:lnTo>
                    <a:lnTo>
                      <a:pt x="0" y="0"/>
                    </a:lnTo>
                    <a:lnTo>
                      <a:pt x="173472" y="0"/>
                    </a:lnTo>
                    <a:lnTo>
                      <a:pt x="322297" y="310922"/>
                    </a:lnTo>
                    <a:cubicBezTo>
                      <a:pt x="361162" y="393392"/>
                      <a:pt x="391496" y="474914"/>
                      <a:pt x="407611" y="530842"/>
                    </a:cubicBezTo>
                    <a:cubicBezTo>
                      <a:pt x="401923" y="470174"/>
                      <a:pt x="396236" y="370642"/>
                      <a:pt x="395288" y="317557"/>
                    </a:cubicBezTo>
                    <a:lnTo>
                      <a:pt x="391496" y="0"/>
                    </a:lnTo>
                    <a:lnTo>
                      <a:pt x="540322" y="0"/>
                    </a:lnTo>
                    <a:lnTo>
                      <a:pt x="540322" y="776357"/>
                    </a:lnTo>
                    <a:lnTo>
                      <a:pt x="376329" y="776357"/>
                    </a:lnTo>
                    <a:close/>
                  </a:path>
                </a:pathLst>
              </a:custGeom>
              <a:grpFill/>
              <a:ln w="9473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54" name="Freihandform: Form 53">
                <a:extLst>
                  <a:ext uri="{FF2B5EF4-FFF2-40B4-BE49-F238E27FC236}">
                    <a16:creationId xmlns:a16="http://schemas.microsoft.com/office/drawing/2014/main" id="{7A868A69-CD0A-4952-A03D-3E2E6B06DA1F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3868512" y="-2218115"/>
                <a:ext cx="161149" cy="767825"/>
              </a:xfrm>
              <a:custGeom>
                <a:avLst/>
                <a:gdLst>
                  <a:gd name="connsiteX0" fmla="*/ 0 w 161148"/>
                  <a:gd name="connsiteY0" fmla="*/ 776357 h 767825"/>
                  <a:gd name="connsiteX1" fmla="*/ 0 w 161148"/>
                  <a:gd name="connsiteY1" fmla="*/ 0 h 767825"/>
                  <a:gd name="connsiteX2" fmla="*/ 163044 w 161148"/>
                  <a:gd name="connsiteY2" fmla="*/ 0 h 767825"/>
                  <a:gd name="connsiteX3" fmla="*/ 163044 w 161148"/>
                  <a:gd name="connsiteY3" fmla="*/ 776357 h 767825"/>
                  <a:gd name="connsiteX4" fmla="*/ 0 w 161148"/>
                  <a:gd name="connsiteY4" fmla="*/ 776357 h 767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1148" h="767825">
                    <a:moveTo>
                      <a:pt x="0" y="776357"/>
                    </a:moveTo>
                    <a:lnTo>
                      <a:pt x="0" y="0"/>
                    </a:lnTo>
                    <a:lnTo>
                      <a:pt x="163044" y="0"/>
                    </a:lnTo>
                    <a:lnTo>
                      <a:pt x="163044" y="776357"/>
                    </a:lnTo>
                    <a:lnTo>
                      <a:pt x="0" y="776357"/>
                    </a:lnTo>
                    <a:close/>
                  </a:path>
                </a:pathLst>
              </a:custGeom>
              <a:grpFill/>
              <a:ln w="9473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55" name="Freihandform: Form 54">
                <a:extLst>
                  <a:ext uri="{FF2B5EF4-FFF2-40B4-BE49-F238E27FC236}">
                    <a16:creationId xmlns:a16="http://schemas.microsoft.com/office/drawing/2014/main" id="{D2A15FB8-7ACC-496C-A4BF-021C9040D008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4104547" y="-2218115"/>
                <a:ext cx="331776" cy="767825"/>
              </a:xfrm>
              <a:custGeom>
                <a:avLst/>
                <a:gdLst>
                  <a:gd name="connsiteX0" fmla="*/ 332724 w 331776"/>
                  <a:gd name="connsiteY0" fmla="*/ 502404 h 767825"/>
                  <a:gd name="connsiteX1" fmla="*/ 194326 w 331776"/>
                  <a:gd name="connsiteY1" fmla="*/ 776357 h 767825"/>
                  <a:gd name="connsiteX2" fmla="*/ 0 w 331776"/>
                  <a:gd name="connsiteY2" fmla="*/ 776357 h 767825"/>
                  <a:gd name="connsiteX3" fmla="*/ 224660 w 331776"/>
                  <a:gd name="connsiteY3" fmla="*/ 361162 h 767825"/>
                  <a:gd name="connsiteX4" fmla="*/ 34126 w 331776"/>
                  <a:gd name="connsiteY4" fmla="*/ 0 h 767825"/>
                  <a:gd name="connsiteX5" fmla="*/ 225608 w 331776"/>
                  <a:gd name="connsiteY5" fmla="*/ 0 h 767825"/>
                  <a:gd name="connsiteX6" fmla="*/ 333672 w 331776"/>
                  <a:gd name="connsiteY6" fmla="*/ 208545 h 767825"/>
                  <a:gd name="connsiteX7" fmla="*/ 333672 w 331776"/>
                  <a:gd name="connsiteY7" fmla="*/ 502404 h 767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31776" h="767825">
                    <a:moveTo>
                      <a:pt x="332724" y="502404"/>
                    </a:moveTo>
                    <a:lnTo>
                      <a:pt x="194326" y="776357"/>
                    </a:lnTo>
                    <a:lnTo>
                      <a:pt x="0" y="776357"/>
                    </a:lnTo>
                    <a:lnTo>
                      <a:pt x="224660" y="361162"/>
                    </a:lnTo>
                    <a:lnTo>
                      <a:pt x="34126" y="0"/>
                    </a:lnTo>
                    <a:lnTo>
                      <a:pt x="225608" y="0"/>
                    </a:lnTo>
                    <a:lnTo>
                      <a:pt x="333672" y="208545"/>
                    </a:lnTo>
                    <a:lnTo>
                      <a:pt x="333672" y="502404"/>
                    </a:lnTo>
                    <a:close/>
                  </a:path>
                </a:pathLst>
              </a:custGeom>
              <a:grpFill/>
              <a:ln w="9473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56" name="Freihandform: Form 55">
                <a:extLst>
                  <a:ext uri="{FF2B5EF4-FFF2-40B4-BE49-F238E27FC236}">
                    <a16:creationId xmlns:a16="http://schemas.microsoft.com/office/drawing/2014/main" id="{3614EB61-F7A4-43AD-B1E7-F6054EFB02A3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4509314" y="-2217167"/>
                <a:ext cx="331776" cy="767825"/>
              </a:xfrm>
              <a:custGeom>
                <a:avLst/>
                <a:gdLst>
                  <a:gd name="connsiteX0" fmla="*/ 143138 w 331776"/>
                  <a:gd name="connsiteY0" fmla="*/ 776357 h 767825"/>
                  <a:gd name="connsiteX1" fmla="*/ 0 w 331776"/>
                  <a:gd name="connsiteY1" fmla="*/ 502404 h 767825"/>
                  <a:gd name="connsiteX2" fmla="*/ 0 w 331776"/>
                  <a:gd name="connsiteY2" fmla="*/ 208545 h 767825"/>
                  <a:gd name="connsiteX3" fmla="*/ 106168 w 331776"/>
                  <a:gd name="connsiteY3" fmla="*/ 0 h 767825"/>
                  <a:gd name="connsiteX4" fmla="*/ 292911 w 331776"/>
                  <a:gd name="connsiteY4" fmla="*/ 0 h 767825"/>
                  <a:gd name="connsiteX5" fmla="*/ 109012 w 331776"/>
                  <a:gd name="connsiteY5" fmla="*/ 350735 h 767825"/>
                  <a:gd name="connsiteX6" fmla="*/ 331776 w 331776"/>
                  <a:gd name="connsiteY6" fmla="*/ 776357 h 767825"/>
                  <a:gd name="connsiteX7" fmla="*/ 143138 w 331776"/>
                  <a:gd name="connsiteY7" fmla="*/ 776357 h 767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31776" h="767825">
                    <a:moveTo>
                      <a:pt x="143138" y="776357"/>
                    </a:moveTo>
                    <a:lnTo>
                      <a:pt x="0" y="502404"/>
                    </a:lnTo>
                    <a:lnTo>
                      <a:pt x="0" y="208545"/>
                    </a:lnTo>
                    <a:lnTo>
                      <a:pt x="106168" y="0"/>
                    </a:lnTo>
                    <a:lnTo>
                      <a:pt x="292911" y="0"/>
                    </a:lnTo>
                    <a:lnTo>
                      <a:pt x="109012" y="350735"/>
                    </a:lnTo>
                    <a:lnTo>
                      <a:pt x="331776" y="776357"/>
                    </a:lnTo>
                    <a:lnTo>
                      <a:pt x="143138" y="776357"/>
                    </a:lnTo>
                    <a:close/>
                  </a:path>
                </a:pathLst>
              </a:custGeom>
              <a:grpFill/>
              <a:ln w="9473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57" name="Freihandform: Form 56">
                <a:extLst>
                  <a:ext uri="{FF2B5EF4-FFF2-40B4-BE49-F238E27FC236}">
                    <a16:creationId xmlns:a16="http://schemas.microsoft.com/office/drawing/2014/main" id="{5993B933-BAFD-403A-A56F-42D634040B56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4914082" y="-2218115"/>
                <a:ext cx="559280" cy="767825"/>
              </a:xfrm>
              <a:custGeom>
                <a:avLst/>
                <a:gdLst>
                  <a:gd name="connsiteX0" fmla="*/ 489133 w 559280"/>
                  <a:gd name="connsiteY0" fmla="*/ 659761 h 767825"/>
                  <a:gd name="connsiteX1" fmla="*/ 300494 w 559280"/>
                  <a:gd name="connsiteY1" fmla="*/ 771617 h 767825"/>
                  <a:gd name="connsiteX2" fmla="*/ 188638 w 559280"/>
                  <a:gd name="connsiteY2" fmla="*/ 776357 h 767825"/>
                  <a:gd name="connsiteX3" fmla="*/ 0 w 559280"/>
                  <a:gd name="connsiteY3" fmla="*/ 776357 h 767825"/>
                  <a:gd name="connsiteX4" fmla="*/ 0 w 559280"/>
                  <a:gd name="connsiteY4" fmla="*/ 0 h 767825"/>
                  <a:gd name="connsiteX5" fmla="*/ 156409 w 559280"/>
                  <a:gd name="connsiteY5" fmla="*/ 0 h 767825"/>
                  <a:gd name="connsiteX6" fmla="*/ 291963 w 559280"/>
                  <a:gd name="connsiteY6" fmla="*/ 4740 h 767825"/>
                  <a:gd name="connsiteX7" fmla="*/ 461643 w 559280"/>
                  <a:gd name="connsiteY7" fmla="*/ 81522 h 767825"/>
                  <a:gd name="connsiteX8" fmla="*/ 567811 w 559280"/>
                  <a:gd name="connsiteY8" fmla="*/ 390548 h 767825"/>
                  <a:gd name="connsiteX9" fmla="*/ 489133 w 559280"/>
                  <a:gd name="connsiteY9" fmla="*/ 659761 h 767825"/>
                  <a:gd name="connsiteX10" fmla="*/ 352630 w 559280"/>
                  <a:gd name="connsiteY10" fmla="*/ 187691 h 767825"/>
                  <a:gd name="connsiteX11" fmla="*/ 229399 w 559280"/>
                  <a:gd name="connsiteY11" fmla="*/ 123231 h 767825"/>
                  <a:gd name="connsiteX12" fmla="*/ 158304 w 559280"/>
                  <a:gd name="connsiteY12" fmla="*/ 123231 h 767825"/>
                  <a:gd name="connsiteX13" fmla="*/ 158304 w 559280"/>
                  <a:gd name="connsiteY13" fmla="*/ 649334 h 767825"/>
                  <a:gd name="connsiteX14" fmla="*/ 241723 w 559280"/>
                  <a:gd name="connsiteY14" fmla="*/ 649334 h 767825"/>
                  <a:gd name="connsiteX15" fmla="*/ 391496 w 559280"/>
                  <a:gd name="connsiteY15" fmla="*/ 405715 h 767825"/>
                  <a:gd name="connsiteX16" fmla="*/ 352630 w 559280"/>
                  <a:gd name="connsiteY16" fmla="*/ 187691 h 767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559280" h="767825">
                    <a:moveTo>
                      <a:pt x="489133" y="659761"/>
                    </a:moveTo>
                    <a:cubicBezTo>
                      <a:pt x="442684" y="723272"/>
                      <a:pt x="372537" y="765929"/>
                      <a:pt x="300494" y="771617"/>
                    </a:cubicBezTo>
                    <a:cubicBezTo>
                      <a:pt x="271109" y="773513"/>
                      <a:pt x="235087" y="776357"/>
                      <a:pt x="188638" y="776357"/>
                    </a:cubicBezTo>
                    <a:lnTo>
                      <a:pt x="0" y="776357"/>
                    </a:lnTo>
                    <a:lnTo>
                      <a:pt x="0" y="0"/>
                    </a:lnTo>
                    <a:lnTo>
                      <a:pt x="156409" y="0"/>
                    </a:lnTo>
                    <a:cubicBezTo>
                      <a:pt x="200961" y="0"/>
                      <a:pt x="260681" y="1896"/>
                      <a:pt x="291963" y="4740"/>
                    </a:cubicBezTo>
                    <a:cubicBezTo>
                      <a:pt x="357370" y="10427"/>
                      <a:pt x="415194" y="35074"/>
                      <a:pt x="461643" y="81522"/>
                    </a:cubicBezTo>
                    <a:cubicBezTo>
                      <a:pt x="532738" y="151669"/>
                      <a:pt x="567811" y="251202"/>
                      <a:pt x="567811" y="390548"/>
                    </a:cubicBezTo>
                    <a:cubicBezTo>
                      <a:pt x="566864" y="496717"/>
                      <a:pt x="541269" y="589614"/>
                      <a:pt x="489133" y="659761"/>
                    </a:cubicBezTo>
                    <a:close/>
                    <a:moveTo>
                      <a:pt x="352630" y="187691"/>
                    </a:moveTo>
                    <a:cubicBezTo>
                      <a:pt x="327037" y="145034"/>
                      <a:pt x="291015" y="123231"/>
                      <a:pt x="229399" y="123231"/>
                    </a:cubicBezTo>
                    <a:lnTo>
                      <a:pt x="158304" y="123231"/>
                    </a:lnTo>
                    <a:lnTo>
                      <a:pt x="158304" y="649334"/>
                    </a:lnTo>
                    <a:lnTo>
                      <a:pt x="241723" y="649334"/>
                    </a:lnTo>
                    <a:cubicBezTo>
                      <a:pt x="344099" y="649334"/>
                      <a:pt x="391496" y="569707"/>
                      <a:pt x="391496" y="405715"/>
                    </a:cubicBezTo>
                    <a:cubicBezTo>
                      <a:pt x="391496" y="314714"/>
                      <a:pt x="383913" y="238879"/>
                      <a:pt x="352630" y="187691"/>
                    </a:cubicBezTo>
                    <a:close/>
                  </a:path>
                </a:pathLst>
              </a:custGeom>
              <a:grpFill/>
              <a:ln w="9473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58" name="Freihandform: Form 57">
                <a:extLst>
                  <a:ext uri="{FF2B5EF4-FFF2-40B4-BE49-F238E27FC236}">
                    <a16:creationId xmlns:a16="http://schemas.microsoft.com/office/drawing/2014/main" id="{22EACB46-6A20-4C33-8D55-C44F64105FF0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5582374" y="-2228542"/>
                <a:ext cx="663553" cy="796263"/>
              </a:xfrm>
              <a:custGeom>
                <a:avLst/>
                <a:gdLst>
                  <a:gd name="connsiteX0" fmla="*/ 496716 w 663552"/>
                  <a:gd name="connsiteY0" fmla="*/ 763086 h 796263"/>
                  <a:gd name="connsiteX1" fmla="*/ 341256 w 663552"/>
                  <a:gd name="connsiteY1" fmla="*/ 799107 h 796263"/>
                  <a:gd name="connsiteX2" fmla="*/ 89105 w 663552"/>
                  <a:gd name="connsiteY2" fmla="*/ 689147 h 796263"/>
                  <a:gd name="connsiteX3" fmla="*/ 0 w 663552"/>
                  <a:gd name="connsiteY3" fmla="*/ 400975 h 796263"/>
                  <a:gd name="connsiteX4" fmla="*/ 175368 w 663552"/>
                  <a:gd name="connsiteY4" fmla="*/ 37917 h 796263"/>
                  <a:gd name="connsiteX5" fmla="*/ 336516 w 663552"/>
                  <a:gd name="connsiteY5" fmla="*/ 0 h 796263"/>
                  <a:gd name="connsiteX6" fmla="*/ 670188 w 663552"/>
                  <a:gd name="connsiteY6" fmla="*/ 394340 h 796263"/>
                  <a:gd name="connsiteX7" fmla="*/ 496716 w 663552"/>
                  <a:gd name="connsiteY7" fmla="*/ 763086 h 796263"/>
                  <a:gd name="connsiteX8" fmla="*/ 469227 w 663552"/>
                  <a:gd name="connsiteY8" fmla="*/ 218972 h 796263"/>
                  <a:gd name="connsiteX9" fmla="*/ 332724 w 663552"/>
                  <a:gd name="connsiteY9" fmla="*/ 120387 h 796263"/>
                  <a:gd name="connsiteX10" fmla="*/ 212337 w 663552"/>
                  <a:gd name="connsiteY10" fmla="*/ 188639 h 796263"/>
                  <a:gd name="connsiteX11" fmla="*/ 173472 w 663552"/>
                  <a:gd name="connsiteY11" fmla="*/ 400975 h 796263"/>
                  <a:gd name="connsiteX12" fmla="*/ 242671 w 663552"/>
                  <a:gd name="connsiteY12" fmla="*/ 652178 h 796263"/>
                  <a:gd name="connsiteX13" fmla="*/ 335568 w 663552"/>
                  <a:gd name="connsiteY13" fmla="*/ 678720 h 796263"/>
                  <a:gd name="connsiteX14" fmla="*/ 490081 w 663552"/>
                  <a:gd name="connsiteY14" fmla="*/ 398132 h 796263"/>
                  <a:gd name="connsiteX15" fmla="*/ 469227 w 663552"/>
                  <a:gd name="connsiteY15" fmla="*/ 218972 h 7962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663552" h="796263">
                    <a:moveTo>
                      <a:pt x="496716" y="763086"/>
                    </a:moveTo>
                    <a:cubicBezTo>
                      <a:pt x="450268" y="788680"/>
                      <a:pt x="406663" y="799107"/>
                      <a:pt x="341256" y="799107"/>
                    </a:cubicBezTo>
                    <a:cubicBezTo>
                      <a:pt x="223712" y="799107"/>
                      <a:pt x="147877" y="766877"/>
                      <a:pt x="89105" y="689147"/>
                    </a:cubicBezTo>
                    <a:cubicBezTo>
                      <a:pt x="30333" y="613312"/>
                      <a:pt x="0" y="514727"/>
                      <a:pt x="0" y="400975"/>
                    </a:cubicBezTo>
                    <a:cubicBezTo>
                      <a:pt x="0" y="233191"/>
                      <a:pt x="63511" y="99533"/>
                      <a:pt x="175368" y="37917"/>
                    </a:cubicBezTo>
                    <a:cubicBezTo>
                      <a:pt x="220868" y="13271"/>
                      <a:pt x="277744" y="0"/>
                      <a:pt x="336516" y="0"/>
                    </a:cubicBezTo>
                    <a:cubicBezTo>
                      <a:pt x="543165" y="0"/>
                      <a:pt x="670188" y="150721"/>
                      <a:pt x="670188" y="394340"/>
                    </a:cubicBezTo>
                    <a:cubicBezTo>
                      <a:pt x="669240" y="569707"/>
                      <a:pt x="609521" y="701470"/>
                      <a:pt x="496716" y="763086"/>
                    </a:cubicBezTo>
                    <a:close/>
                    <a:moveTo>
                      <a:pt x="469227" y="218972"/>
                    </a:moveTo>
                    <a:cubicBezTo>
                      <a:pt x="456903" y="180107"/>
                      <a:pt x="415194" y="120387"/>
                      <a:pt x="332724" y="120387"/>
                    </a:cubicBezTo>
                    <a:cubicBezTo>
                      <a:pt x="280588" y="120387"/>
                      <a:pt x="234139" y="146930"/>
                      <a:pt x="212337" y="188639"/>
                    </a:cubicBezTo>
                    <a:cubicBezTo>
                      <a:pt x="185795" y="238879"/>
                      <a:pt x="173472" y="307130"/>
                      <a:pt x="173472" y="400975"/>
                    </a:cubicBezTo>
                    <a:cubicBezTo>
                      <a:pt x="173472" y="534634"/>
                      <a:pt x="196222" y="619000"/>
                      <a:pt x="242671" y="652178"/>
                    </a:cubicBezTo>
                    <a:cubicBezTo>
                      <a:pt x="267317" y="670188"/>
                      <a:pt x="298599" y="678720"/>
                      <a:pt x="335568" y="678720"/>
                    </a:cubicBezTo>
                    <a:cubicBezTo>
                      <a:pt x="443632" y="678720"/>
                      <a:pt x="490081" y="596249"/>
                      <a:pt x="490081" y="398132"/>
                    </a:cubicBezTo>
                    <a:cubicBezTo>
                      <a:pt x="490081" y="319453"/>
                      <a:pt x="483446" y="262577"/>
                      <a:pt x="469227" y="218972"/>
                    </a:cubicBezTo>
                    <a:close/>
                  </a:path>
                </a:pathLst>
              </a:custGeom>
              <a:grpFill/>
              <a:ln w="9473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59" name="Freihandform: Form 58">
                <a:extLst>
                  <a:ext uri="{FF2B5EF4-FFF2-40B4-BE49-F238E27FC236}">
                    <a16:creationId xmlns:a16="http://schemas.microsoft.com/office/drawing/2014/main" id="{F16B284F-5F2C-45CC-9E03-C826CE125B5C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6385273" y="-2218115"/>
                <a:ext cx="559280" cy="767825"/>
              </a:xfrm>
              <a:custGeom>
                <a:avLst/>
                <a:gdLst>
                  <a:gd name="connsiteX0" fmla="*/ 379173 w 559280"/>
                  <a:gd name="connsiteY0" fmla="*/ 776357 h 767825"/>
                  <a:gd name="connsiteX1" fmla="*/ 306183 w 559280"/>
                  <a:gd name="connsiteY1" fmla="*/ 649334 h 767825"/>
                  <a:gd name="connsiteX2" fmla="*/ 177264 w 559280"/>
                  <a:gd name="connsiteY2" fmla="*/ 459747 h 767825"/>
                  <a:gd name="connsiteX3" fmla="*/ 152618 w 559280"/>
                  <a:gd name="connsiteY3" fmla="*/ 453112 h 767825"/>
                  <a:gd name="connsiteX4" fmla="*/ 152618 w 559280"/>
                  <a:gd name="connsiteY4" fmla="*/ 776357 h 767825"/>
                  <a:gd name="connsiteX5" fmla="*/ 0 w 559280"/>
                  <a:gd name="connsiteY5" fmla="*/ 776357 h 767825"/>
                  <a:gd name="connsiteX6" fmla="*/ 0 w 559280"/>
                  <a:gd name="connsiteY6" fmla="*/ 0 h 767825"/>
                  <a:gd name="connsiteX7" fmla="*/ 289119 w 559280"/>
                  <a:gd name="connsiteY7" fmla="*/ 0 h 767825"/>
                  <a:gd name="connsiteX8" fmla="*/ 516623 w 559280"/>
                  <a:gd name="connsiteY8" fmla="*/ 227504 h 767825"/>
                  <a:gd name="connsiteX9" fmla="*/ 343152 w 559280"/>
                  <a:gd name="connsiteY9" fmla="*/ 441736 h 767825"/>
                  <a:gd name="connsiteX10" fmla="*/ 375382 w 559280"/>
                  <a:gd name="connsiteY10" fmla="*/ 473966 h 767825"/>
                  <a:gd name="connsiteX11" fmla="*/ 562125 w 559280"/>
                  <a:gd name="connsiteY11" fmla="*/ 775409 h 767825"/>
                  <a:gd name="connsiteX12" fmla="*/ 379173 w 559280"/>
                  <a:gd name="connsiteY12" fmla="*/ 775409 h 767825"/>
                  <a:gd name="connsiteX13" fmla="*/ 297651 w 559280"/>
                  <a:gd name="connsiteY13" fmla="*/ 136502 h 767825"/>
                  <a:gd name="connsiteX14" fmla="*/ 209493 w 559280"/>
                  <a:gd name="connsiteY14" fmla="*/ 125127 h 767825"/>
                  <a:gd name="connsiteX15" fmla="*/ 153565 w 559280"/>
                  <a:gd name="connsiteY15" fmla="*/ 125127 h 767825"/>
                  <a:gd name="connsiteX16" fmla="*/ 153565 w 559280"/>
                  <a:gd name="connsiteY16" fmla="*/ 335568 h 767825"/>
                  <a:gd name="connsiteX17" fmla="*/ 205701 w 559280"/>
                  <a:gd name="connsiteY17" fmla="*/ 335568 h 767825"/>
                  <a:gd name="connsiteX18" fmla="*/ 323245 w 559280"/>
                  <a:gd name="connsiteY18" fmla="*/ 309974 h 767825"/>
                  <a:gd name="connsiteX19" fmla="*/ 353579 w 559280"/>
                  <a:gd name="connsiteY19" fmla="*/ 232243 h 767825"/>
                  <a:gd name="connsiteX20" fmla="*/ 297651 w 559280"/>
                  <a:gd name="connsiteY20" fmla="*/ 136502 h 767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559280" h="767825">
                    <a:moveTo>
                      <a:pt x="379173" y="776357"/>
                    </a:moveTo>
                    <a:cubicBezTo>
                      <a:pt x="348840" y="725168"/>
                      <a:pt x="336516" y="703366"/>
                      <a:pt x="306183" y="649334"/>
                    </a:cubicBezTo>
                    <a:cubicBezTo>
                      <a:pt x="229400" y="509988"/>
                      <a:pt x="205701" y="472070"/>
                      <a:pt x="177264" y="459747"/>
                    </a:cubicBezTo>
                    <a:cubicBezTo>
                      <a:pt x="169680" y="455955"/>
                      <a:pt x="163045" y="454060"/>
                      <a:pt x="152618" y="453112"/>
                    </a:cubicBezTo>
                    <a:lnTo>
                      <a:pt x="152618" y="776357"/>
                    </a:lnTo>
                    <a:lnTo>
                      <a:pt x="0" y="776357"/>
                    </a:lnTo>
                    <a:lnTo>
                      <a:pt x="0" y="0"/>
                    </a:lnTo>
                    <a:lnTo>
                      <a:pt x="289119" y="0"/>
                    </a:lnTo>
                    <a:cubicBezTo>
                      <a:pt x="426570" y="0"/>
                      <a:pt x="516623" y="91949"/>
                      <a:pt x="516623" y="227504"/>
                    </a:cubicBezTo>
                    <a:cubicBezTo>
                      <a:pt x="516623" y="344099"/>
                      <a:pt x="439841" y="439841"/>
                      <a:pt x="343152" y="441736"/>
                    </a:cubicBezTo>
                    <a:cubicBezTo>
                      <a:pt x="358319" y="454060"/>
                      <a:pt x="365902" y="460695"/>
                      <a:pt x="375382" y="473966"/>
                    </a:cubicBezTo>
                    <a:cubicBezTo>
                      <a:pt x="419935" y="529894"/>
                      <a:pt x="562125" y="775409"/>
                      <a:pt x="562125" y="775409"/>
                    </a:cubicBezTo>
                    <a:lnTo>
                      <a:pt x="379173" y="775409"/>
                    </a:lnTo>
                    <a:close/>
                    <a:moveTo>
                      <a:pt x="297651" y="136502"/>
                    </a:moveTo>
                    <a:cubicBezTo>
                      <a:pt x="279640" y="129867"/>
                      <a:pt x="247411" y="125127"/>
                      <a:pt x="209493" y="125127"/>
                    </a:cubicBezTo>
                    <a:lnTo>
                      <a:pt x="153565" y="125127"/>
                    </a:lnTo>
                    <a:lnTo>
                      <a:pt x="153565" y="335568"/>
                    </a:lnTo>
                    <a:lnTo>
                      <a:pt x="205701" y="335568"/>
                    </a:lnTo>
                    <a:cubicBezTo>
                      <a:pt x="273005" y="335568"/>
                      <a:pt x="301443" y="328933"/>
                      <a:pt x="323245" y="309974"/>
                    </a:cubicBezTo>
                    <a:cubicBezTo>
                      <a:pt x="342204" y="291963"/>
                      <a:pt x="353579" y="264473"/>
                      <a:pt x="353579" y="232243"/>
                    </a:cubicBezTo>
                    <a:cubicBezTo>
                      <a:pt x="353579" y="182951"/>
                      <a:pt x="334621" y="149773"/>
                      <a:pt x="297651" y="136502"/>
                    </a:cubicBezTo>
                    <a:close/>
                  </a:path>
                </a:pathLst>
              </a:custGeom>
              <a:grpFill/>
              <a:ln w="9473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60" name="Freihandform: Form 59">
                <a:extLst>
                  <a:ext uri="{FF2B5EF4-FFF2-40B4-BE49-F238E27FC236}">
                    <a16:creationId xmlns:a16="http://schemas.microsoft.com/office/drawing/2014/main" id="{DA84E510-8BBB-4F1D-B1C9-04444BF3838D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7048825" y="-2218115"/>
                <a:ext cx="417090" cy="767825"/>
              </a:xfrm>
              <a:custGeom>
                <a:avLst/>
                <a:gdLst>
                  <a:gd name="connsiteX0" fmla="*/ 403820 w 417090"/>
                  <a:gd name="connsiteY0" fmla="*/ 126075 h 767825"/>
                  <a:gd name="connsiteX1" fmla="*/ 157357 w 417090"/>
                  <a:gd name="connsiteY1" fmla="*/ 126075 h 767825"/>
                  <a:gd name="connsiteX2" fmla="*/ 157357 w 417090"/>
                  <a:gd name="connsiteY2" fmla="*/ 303338 h 767825"/>
                  <a:gd name="connsiteX3" fmla="*/ 354527 w 417090"/>
                  <a:gd name="connsiteY3" fmla="*/ 303338 h 767825"/>
                  <a:gd name="connsiteX4" fmla="*/ 354527 w 417090"/>
                  <a:gd name="connsiteY4" fmla="*/ 430361 h 767825"/>
                  <a:gd name="connsiteX5" fmla="*/ 156409 w 417090"/>
                  <a:gd name="connsiteY5" fmla="*/ 430361 h 767825"/>
                  <a:gd name="connsiteX6" fmla="*/ 156409 w 417090"/>
                  <a:gd name="connsiteY6" fmla="*/ 776357 h 767825"/>
                  <a:gd name="connsiteX7" fmla="*/ 0 w 417090"/>
                  <a:gd name="connsiteY7" fmla="*/ 776357 h 767825"/>
                  <a:gd name="connsiteX8" fmla="*/ 0 w 417090"/>
                  <a:gd name="connsiteY8" fmla="*/ 0 h 767825"/>
                  <a:gd name="connsiteX9" fmla="*/ 420882 w 417090"/>
                  <a:gd name="connsiteY9" fmla="*/ 0 h 767825"/>
                  <a:gd name="connsiteX10" fmla="*/ 403820 w 417090"/>
                  <a:gd name="connsiteY10" fmla="*/ 126075 h 767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17090" h="767825">
                    <a:moveTo>
                      <a:pt x="403820" y="126075"/>
                    </a:moveTo>
                    <a:lnTo>
                      <a:pt x="157357" y="126075"/>
                    </a:lnTo>
                    <a:lnTo>
                      <a:pt x="157357" y="303338"/>
                    </a:lnTo>
                    <a:lnTo>
                      <a:pt x="354527" y="303338"/>
                    </a:lnTo>
                    <a:lnTo>
                      <a:pt x="354527" y="430361"/>
                    </a:lnTo>
                    <a:lnTo>
                      <a:pt x="156409" y="430361"/>
                    </a:lnTo>
                    <a:lnTo>
                      <a:pt x="156409" y="776357"/>
                    </a:lnTo>
                    <a:lnTo>
                      <a:pt x="0" y="776357"/>
                    </a:lnTo>
                    <a:lnTo>
                      <a:pt x="0" y="0"/>
                    </a:lnTo>
                    <a:lnTo>
                      <a:pt x="420882" y="0"/>
                    </a:lnTo>
                    <a:lnTo>
                      <a:pt x="403820" y="126075"/>
                    </a:lnTo>
                    <a:close/>
                  </a:path>
                </a:pathLst>
              </a:custGeom>
              <a:grpFill/>
              <a:ln w="9473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61" name="Freihandform: Form 60">
                <a:extLst>
                  <a:ext uri="{FF2B5EF4-FFF2-40B4-BE49-F238E27FC236}">
                    <a16:creationId xmlns:a16="http://schemas.microsoft.com/office/drawing/2014/main" id="{86F26838-E5B2-481E-AFC3-D7EB8A3E9F6E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7796744" y="-2225698"/>
                <a:ext cx="161149" cy="777305"/>
              </a:xfrm>
              <a:custGeom>
                <a:avLst/>
                <a:gdLst>
                  <a:gd name="connsiteX0" fmla="*/ 0 w 161148"/>
                  <a:gd name="connsiteY0" fmla="*/ 783940 h 777304"/>
                  <a:gd name="connsiteX1" fmla="*/ 0 w 161148"/>
                  <a:gd name="connsiteY1" fmla="*/ 0 h 777304"/>
                  <a:gd name="connsiteX2" fmla="*/ 164941 w 161148"/>
                  <a:gd name="connsiteY2" fmla="*/ 0 h 777304"/>
                  <a:gd name="connsiteX3" fmla="*/ 164941 w 161148"/>
                  <a:gd name="connsiteY3" fmla="*/ 783940 h 777304"/>
                  <a:gd name="connsiteX4" fmla="*/ 0 w 161148"/>
                  <a:gd name="connsiteY4" fmla="*/ 783940 h 7773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1148" h="777304">
                    <a:moveTo>
                      <a:pt x="0" y="783940"/>
                    </a:moveTo>
                    <a:lnTo>
                      <a:pt x="0" y="0"/>
                    </a:lnTo>
                    <a:lnTo>
                      <a:pt x="164941" y="0"/>
                    </a:lnTo>
                    <a:lnTo>
                      <a:pt x="164941" y="783940"/>
                    </a:lnTo>
                    <a:lnTo>
                      <a:pt x="0" y="783940"/>
                    </a:lnTo>
                    <a:close/>
                  </a:path>
                </a:pathLst>
              </a:custGeom>
              <a:grpFill/>
              <a:ln w="9473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62" name="Freihandform: Form 61">
                <a:extLst>
                  <a:ext uri="{FF2B5EF4-FFF2-40B4-BE49-F238E27FC236}">
                    <a16:creationId xmlns:a16="http://schemas.microsoft.com/office/drawing/2014/main" id="{F0430848-E017-45A0-88B3-F6BC1C74DB16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8130417" y="-2225698"/>
                <a:ext cx="540322" cy="777305"/>
              </a:xfrm>
              <a:custGeom>
                <a:avLst/>
                <a:gdLst>
                  <a:gd name="connsiteX0" fmla="*/ 381069 w 540321"/>
                  <a:gd name="connsiteY0" fmla="*/ 783940 h 777304"/>
                  <a:gd name="connsiteX1" fmla="*/ 246462 w 540321"/>
                  <a:gd name="connsiteY1" fmla="*/ 483446 h 777304"/>
                  <a:gd name="connsiteX2" fmla="*/ 140294 w 540321"/>
                  <a:gd name="connsiteY2" fmla="*/ 226556 h 777304"/>
                  <a:gd name="connsiteX3" fmla="*/ 147877 w 540321"/>
                  <a:gd name="connsiteY3" fmla="*/ 448372 h 777304"/>
                  <a:gd name="connsiteX4" fmla="*/ 152617 w 540321"/>
                  <a:gd name="connsiteY4" fmla="*/ 782992 h 777304"/>
                  <a:gd name="connsiteX5" fmla="*/ 0 w 540321"/>
                  <a:gd name="connsiteY5" fmla="*/ 782992 h 777304"/>
                  <a:gd name="connsiteX6" fmla="*/ 0 w 540321"/>
                  <a:gd name="connsiteY6" fmla="*/ 0 h 777304"/>
                  <a:gd name="connsiteX7" fmla="*/ 174419 w 540321"/>
                  <a:gd name="connsiteY7" fmla="*/ 0 h 777304"/>
                  <a:gd name="connsiteX8" fmla="*/ 325141 w 540321"/>
                  <a:gd name="connsiteY8" fmla="*/ 313766 h 777304"/>
                  <a:gd name="connsiteX9" fmla="*/ 410455 w 540321"/>
                  <a:gd name="connsiteY9" fmla="*/ 535582 h 777304"/>
                  <a:gd name="connsiteX10" fmla="*/ 398132 w 540321"/>
                  <a:gd name="connsiteY10" fmla="*/ 320401 h 777304"/>
                  <a:gd name="connsiteX11" fmla="*/ 394340 w 540321"/>
                  <a:gd name="connsiteY11" fmla="*/ 0 h 777304"/>
                  <a:gd name="connsiteX12" fmla="*/ 544113 w 540321"/>
                  <a:gd name="connsiteY12" fmla="*/ 0 h 777304"/>
                  <a:gd name="connsiteX13" fmla="*/ 544113 w 540321"/>
                  <a:gd name="connsiteY13" fmla="*/ 783940 h 777304"/>
                  <a:gd name="connsiteX14" fmla="*/ 381069 w 540321"/>
                  <a:gd name="connsiteY14" fmla="*/ 783940 h 7773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40321" h="777304">
                    <a:moveTo>
                      <a:pt x="381069" y="783940"/>
                    </a:moveTo>
                    <a:lnTo>
                      <a:pt x="246462" y="483446"/>
                    </a:lnTo>
                    <a:cubicBezTo>
                      <a:pt x="202857" y="384861"/>
                      <a:pt x="155461" y="274900"/>
                      <a:pt x="140294" y="226556"/>
                    </a:cubicBezTo>
                    <a:cubicBezTo>
                      <a:pt x="145981" y="291015"/>
                      <a:pt x="146930" y="382965"/>
                      <a:pt x="147877" y="448372"/>
                    </a:cubicBezTo>
                    <a:lnTo>
                      <a:pt x="152617" y="782992"/>
                    </a:lnTo>
                    <a:lnTo>
                      <a:pt x="0" y="782992"/>
                    </a:lnTo>
                    <a:lnTo>
                      <a:pt x="0" y="0"/>
                    </a:lnTo>
                    <a:lnTo>
                      <a:pt x="174419" y="0"/>
                    </a:lnTo>
                    <a:lnTo>
                      <a:pt x="325141" y="313766"/>
                    </a:lnTo>
                    <a:cubicBezTo>
                      <a:pt x="364954" y="397184"/>
                      <a:pt x="395288" y="479654"/>
                      <a:pt x="410455" y="535582"/>
                    </a:cubicBezTo>
                    <a:cubicBezTo>
                      <a:pt x="404767" y="474914"/>
                      <a:pt x="399079" y="374433"/>
                      <a:pt x="398132" y="320401"/>
                    </a:cubicBezTo>
                    <a:lnTo>
                      <a:pt x="394340" y="0"/>
                    </a:lnTo>
                    <a:lnTo>
                      <a:pt x="544113" y="0"/>
                    </a:lnTo>
                    <a:lnTo>
                      <a:pt x="544113" y="783940"/>
                    </a:lnTo>
                    <a:lnTo>
                      <a:pt x="381069" y="783940"/>
                    </a:lnTo>
                    <a:close/>
                  </a:path>
                </a:pathLst>
              </a:custGeom>
              <a:grpFill/>
              <a:ln w="9473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63" name="Freihandform: Form 62">
                <a:extLst>
                  <a:ext uri="{FF2B5EF4-FFF2-40B4-BE49-F238E27FC236}">
                    <a16:creationId xmlns:a16="http://schemas.microsoft.com/office/drawing/2014/main" id="{DBE3DE3C-1446-41A5-A742-6D11FE2EAC82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8780698" y="-2228542"/>
                <a:ext cx="587718" cy="796263"/>
              </a:xfrm>
              <a:custGeom>
                <a:avLst/>
                <a:gdLst>
                  <a:gd name="connsiteX0" fmla="*/ 267317 w 587718"/>
                  <a:gd name="connsiteY0" fmla="*/ 799107 h 796263"/>
                  <a:gd name="connsiteX1" fmla="*/ 0 w 587718"/>
                  <a:gd name="connsiteY1" fmla="*/ 729908 h 796263"/>
                  <a:gd name="connsiteX2" fmla="*/ 58772 w 587718"/>
                  <a:gd name="connsiteY2" fmla="*/ 610468 h 796263"/>
                  <a:gd name="connsiteX3" fmla="*/ 273953 w 587718"/>
                  <a:gd name="connsiteY3" fmla="*/ 672084 h 796263"/>
                  <a:gd name="connsiteX4" fmla="*/ 411403 w 587718"/>
                  <a:gd name="connsiteY4" fmla="*/ 567812 h 796263"/>
                  <a:gd name="connsiteX5" fmla="*/ 309026 w 587718"/>
                  <a:gd name="connsiteY5" fmla="*/ 469227 h 796263"/>
                  <a:gd name="connsiteX6" fmla="*/ 221816 w 587718"/>
                  <a:gd name="connsiteY6" fmla="*/ 446476 h 796263"/>
                  <a:gd name="connsiteX7" fmla="*/ 67304 w 587718"/>
                  <a:gd name="connsiteY7" fmla="*/ 350735 h 796263"/>
                  <a:gd name="connsiteX8" fmla="*/ 35074 w 587718"/>
                  <a:gd name="connsiteY8" fmla="*/ 235087 h 796263"/>
                  <a:gd name="connsiteX9" fmla="*/ 315661 w 587718"/>
                  <a:gd name="connsiteY9" fmla="*/ 0 h 796263"/>
                  <a:gd name="connsiteX10" fmla="*/ 577291 w 587718"/>
                  <a:gd name="connsiteY10" fmla="*/ 76783 h 796263"/>
                  <a:gd name="connsiteX11" fmla="*/ 502404 w 587718"/>
                  <a:gd name="connsiteY11" fmla="*/ 185795 h 796263"/>
                  <a:gd name="connsiteX12" fmla="*/ 319453 w 587718"/>
                  <a:gd name="connsiteY12" fmla="*/ 127971 h 796263"/>
                  <a:gd name="connsiteX13" fmla="*/ 210441 w 587718"/>
                  <a:gd name="connsiteY13" fmla="*/ 215181 h 796263"/>
                  <a:gd name="connsiteX14" fmla="*/ 297651 w 587718"/>
                  <a:gd name="connsiteY14" fmla="*/ 291963 h 796263"/>
                  <a:gd name="connsiteX15" fmla="*/ 392444 w 587718"/>
                  <a:gd name="connsiteY15" fmla="*/ 317557 h 796263"/>
                  <a:gd name="connsiteX16" fmla="*/ 590562 w 587718"/>
                  <a:gd name="connsiteY16" fmla="*/ 544113 h 796263"/>
                  <a:gd name="connsiteX17" fmla="*/ 267317 w 587718"/>
                  <a:gd name="connsiteY17" fmla="*/ 799107 h 7962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587718" h="796263">
                    <a:moveTo>
                      <a:pt x="267317" y="799107"/>
                    </a:moveTo>
                    <a:cubicBezTo>
                      <a:pt x="178211" y="799107"/>
                      <a:pt x="78678" y="773513"/>
                      <a:pt x="0" y="729908"/>
                    </a:cubicBezTo>
                    <a:lnTo>
                      <a:pt x="58772" y="610468"/>
                    </a:lnTo>
                    <a:cubicBezTo>
                      <a:pt x="131763" y="647438"/>
                      <a:pt x="195274" y="672084"/>
                      <a:pt x="273953" y="672084"/>
                    </a:cubicBezTo>
                    <a:cubicBezTo>
                      <a:pt x="364006" y="672084"/>
                      <a:pt x="411403" y="636063"/>
                      <a:pt x="411403" y="567812"/>
                    </a:cubicBezTo>
                    <a:cubicBezTo>
                      <a:pt x="411403" y="518519"/>
                      <a:pt x="379173" y="488185"/>
                      <a:pt x="309026" y="469227"/>
                    </a:cubicBezTo>
                    <a:lnTo>
                      <a:pt x="221816" y="446476"/>
                    </a:lnTo>
                    <a:cubicBezTo>
                      <a:pt x="144086" y="425622"/>
                      <a:pt x="95742" y="396236"/>
                      <a:pt x="67304" y="350735"/>
                    </a:cubicBezTo>
                    <a:cubicBezTo>
                      <a:pt x="45501" y="316609"/>
                      <a:pt x="35074" y="277744"/>
                      <a:pt x="35074" y="235087"/>
                    </a:cubicBezTo>
                    <a:cubicBezTo>
                      <a:pt x="35074" y="95741"/>
                      <a:pt x="149773" y="0"/>
                      <a:pt x="315661" y="0"/>
                    </a:cubicBezTo>
                    <a:cubicBezTo>
                      <a:pt x="411403" y="0"/>
                      <a:pt x="509040" y="28438"/>
                      <a:pt x="577291" y="76783"/>
                    </a:cubicBezTo>
                    <a:lnTo>
                      <a:pt x="502404" y="185795"/>
                    </a:lnTo>
                    <a:cubicBezTo>
                      <a:pt x="431309" y="144086"/>
                      <a:pt x="378225" y="127971"/>
                      <a:pt x="319453" y="127971"/>
                    </a:cubicBezTo>
                    <a:cubicBezTo>
                      <a:pt x="254994" y="127971"/>
                      <a:pt x="210441" y="163992"/>
                      <a:pt x="210441" y="215181"/>
                    </a:cubicBezTo>
                    <a:cubicBezTo>
                      <a:pt x="210441" y="254994"/>
                      <a:pt x="232243" y="273952"/>
                      <a:pt x="297651" y="291963"/>
                    </a:cubicBezTo>
                    <a:lnTo>
                      <a:pt x="392444" y="317557"/>
                    </a:lnTo>
                    <a:cubicBezTo>
                      <a:pt x="521363" y="351683"/>
                      <a:pt x="590562" y="431309"/>
                      <a:pt x="590562" y="544113"/>
                    </a:cubicBezTo>
                    <a:cubicBezTo>
                      <a:pt x="591510" y="697678"/>
                      <a:pt x="462591" y="799107"/>
                      <a:pt x="267317" y="799107"/>
                    </a:cubicBezTo>
                    <a:close/>
                  </a:path>
                </a:pathLst>
              </a:custGeom>
              <a:grpFill/>
              <a:ln w="9473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64" name="Freihandform: Form 63">
                <a:extLst>
                  <a:ext uri="{FF2B5EF4-FFF2-40B4-BE49-F238E27FC236}">
                    <a16:creationId xmlns:a16="http://schemas.microsoft.com/office/drawing/2014/main" id="{2D190349-CAB4-4589-986A-E3878DCE1845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9435720" y="-2225698"/>
                <a:ext cx="559280" cy="777305"/>
              </a:xfrm>
              <a:custGeom>
                <a:avLst/>
                <a:gdLst>
                  <a:gd name="connsiteX0" fmla="*/ 539374 w 559280"/>
                  <a:gd name="connsiteY0" fmla="*/ 130815 h 777304"/>
                  <a:gd name="connsiteX1" fmla="*/ 351683 w 559280"/>
                  <a:gd name="connsiteY1" fmla="*/ 130815 h 777304"/>
                  <a:gd name="connsiteX2" fmla="*/ 351683 w 559280"/>
                  <a:gd name="connsiteY2" fmla="*/ 783940 h 777304"/>
                  <a:gd name="connsiteX3" fmla="*/ 191482 w 559280"/>
                  <a:gd name="connsiteY3" fmla="*/ 783940 h 777304"/>
                  <a:gd name="connsiteX4" fmla="*/ 191482 w 559280"/>
                  <a:gd name="connsiteY4" fmla="*/ 130815 h 777304"/>
                  <a:gd name="connsiteX5" fmla="*/ 0 w 559280"/>
                  <a:gd name="connsiteY5" fmla="*/ 130815 h 777304"/>
                  <a:gd name="connsiteX6" fmla="*/ 0 w 559280"/>
                  <a:gd name="connsiteY6" fmla="*/ 0 h 777304"/>
                  <a:gd name="connsiteX7" fmla="*/ 564968 w 559280"/>
                  <a:gd name="connsiteY7" fmla="*/ 0 h 777304"/>
                  <a:gd name="connsiteX8" fmla="*/ 539374 w 559280"/>
                  <a:gd name="connsiteY8" fmla="*/ 130815 h 7773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59280" h="777304">
                    <a:moveTo>
                      <a:pt x="539374" y="130815"/>
                    </a:moveTo>
                    <a:lnTo>
                      <a:pt x="351683" y="130815"/>
                    </a:lnTo>
                    <a:lnTo>
                      <a:pt x="351683" y="783940"/>
                    </a:lnTo>
                    <a:lnTo>
                      <a:pt x="191482" y="783940"/>
                    </a:lnTo>
                    <a:lnTo>
                      <a:pt x="191482" y="130815"/>
                    </a:lnTo>
                    <a:lnTo>
                      <a:pt x="0" y="130815"/>
                    </a:lnTo>
                    <a:lnTo>
                      <a:pt x="0" y="0"/>
                    </a:lnTo>
                    <a:lnTo>
                      <a:pt x="564968" y="0"/>
                    </a:lnTo>
                    <a:lnTo>
                      <a:pt x="539374" y="130815"/>
                    </a:lnTo>
                    <a:close/>
                  </a:path>
                </a:pathLst>
              </a:custGeom>
              <a:grpFill/>
              <a:ln w="9473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65" name="Freihandform: Form 64">
                <a:extLst>
                  <a:ext uri="{FF2B5EF4-FFF2-40B4-BE49-F238E27FC236}">
                    <a16:creationId xmlns:a16="http://schemas.microsoft.com/office/drawing/2014/main" id="{822A4F2F-12CC-4A43-9E52-E424BAA7638F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10068938" y="-2225698"/>
                <a:ext cx="161149" cy="777305"/>
              </a:xfrm>
              <a:custGeom>
                <a:avLst/>
                <a:gdLst>
                  <a:gd name="connsiteX0" fmla="*/ 0 w 161148"/>
                  <a:gd name="connsiteY0" fmla="*/ 783940 h 777304"/>
                  <a:gd name="connsiteX1" fmla="*/ 0 w 161148"/>
                  <a:gd name="connsiteY1" fmla="*/ 0 h 777304"/>
                  <a:gd name="connsiteX2" fmla="*/ 164941 w 161148"/>
                  <a:gd name="connsiteY2" fmla="*/ 0 h 777304"/>
                  <a:gd name="connsiteX3" fmla="*/ 164941 w 161148"/>
                  <a:gd name="connsiteY3" fmla="*/ 783940 h 777304"/>
                  <a:gd name="connsiteX4" fmla="*/ 0 w 161148"/>
                  <a:gd name="connsiteY4" fmla="*/ 783940 h 7773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1148" h="777304">
                    <a:moveTo>
                      <a:pt x="0" y="783940"/>
                    </a:moveTo>
                    <a:lnTo>
                      <a:pt x="0" y="0"/>
                    </a:lnTo>
                    <a:lnTo>
                      <a:pt x="164941" y="0"/>
                    </a:lnTo>
                    <a:lnTo>
                      <a:pt x="164941" y="783940"/>
                    </a:lnTo>
                    <a:lnTo>
                      <a:pt x="0" y="783940"/>
                    </a:lnTo>
                    <a:close/>
                  </a:path>
                </a:pathLst>
              </a:custGeom>
              <a:grpFill/>
              <a:ln w="9473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66" name="Freihandform: Form 65">
                <a:extLst>
                  <a:ext uri="{FF2B5EF4-FFF2-40B4-BE49-F238E27FC236}">
                    <a16:creationId xmlns:a16="http://schemas.microsoft.com/office/drawing/2014/main" id="{A766CF90-16AE-4F66-901C-D94B40570DAA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10335308" y="-2225698"/>
                <a:ext cx="559280" cy="777305"/>
              </a:xfrm>
              <a:custGeom>
                <a:avLst/>
                <a:gdLst>
                  <a:gd name="connsiteX0" fmla="*/ 539373 w 559280"/>
                  <a:gd name="connsiteY0" fmla="*/ 130815 h 777304"/>
                  <a:gd name="connsiteX1" fmla="*/ 351683 w 559280"/>
                  <a:gd name="connsiteY1" fmla="*/ 130815 h 777304"/>
                  <a:gd name="connsiteX2" fmla="*/ 351683 w 559280"/>
                  <a:gd name="connsiteY2" fmla="*/ 783940 h 777304"/>
                  <a:gd name="connsiteX3" fmla="*/ 191482 w 559280"/>
                  <a:gd name="connsiteY3" fmla="*/ 783940 h 777304"/>
                  <a:gd name="connsiteX4" fmla="*/ 191482 w 559280"/>
                  <a:gd name="connsiteY4" fmla="*/ 130815 h 777304"/>
                  <a:gd name="connsiteX5" fmla="*/ 0 w 559280"/>
                  <a:gd name="connsiteY5" fmla="*/ 130815 h 777304"/>
                  <a:gd name="connsiteX6" fmla="*/ 0 w 559280"/>
                  <a:gd name="connsiteY6" fmla="*/ 0 h 777304"/>
                  <a:gd name="connsiteX7" fmla="*/ 564968 w 559280"/>
                  <a:gd name="connsiteY7" fmla="*/ 0 h 777304"/>
                  <a:gd name="connsiteX8" fmla="*/ 539373 w 559280"/>
                  <a:gd name="connsiteY8" fmla="*/ 130815 h 7773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59280" h="777304">
                    <a:moveTo>
                      <a:pt x="539373" y="130815"/>
                    </a:moveTo>
                    <a:lnTo>
                      <a:pt x="351683" y="130815"/>
                    </a:lnTo>
                    <a:lnTo>
                      <a:pt x="351683" y="783940"/>
                    </a:lnTo>
                    <a:lnTo>
                      <a:pt x="191482" y="783940"/>
                    </a:lnTo>
                    <a:lnTo>
                      <a:pt x="191482" y="130815"/>
                    </a:lnTo>
                    <a:lnTo>
                      <a:pt x="0" y="130815"/>
                    </a:lnTo>
                    <a:lnTo>
                      <a:pt x="0" y="0"/>
                    </a:lnTo>
                    <a:lnTo>
                      <a:pt x="564968" y="0"/>
                    </a:lnTo>
                    <a:lnTo>
                      <a:pt x="539373" y="130815"/>
                    </a:lnTo>
                    <a:close/>
                  </a:path>
                </a:pathLst>
              </a:custGeom>
              <a:grpFill/>
              <a:ln w="9473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67" name="Freihandform: Form 66">
                <a:extLst>
                  <a:ext uri="{FF2B5EF4-FFF2-40B4-BE49-F238E27FC236}">
                    <a16:creationId xmlns:a16="http://schemas.microsoft.com/office/drawing/2014/main" id="{E29E3404-45CD-4754-80ED-947FA9728127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10965684" y="-2225698"/>
                <a:ext cx="559280" cy="796263"/>
              </a:xfrm>
              <a:custGeom>
                <a:avLst/>
                <a:gdLst>
                  <a:gd name="connsiteX0" fmla="*/ 551696 w 559280"/>
                  <a:gd name="connsiteY0" fmla="*/ 651230 h 796263"/>
                  <a:gd name="connsiteX1" fmla="*/ 285327 w 559280"/>
                  <a:gd name="connsiteY1" fmla="*/ 799107 h 796263"/>
                  <a:gd name="connsiteX2" fmla="*/ 34125 w 559280"/>
                  <a:gd name="connsiteY2" fmla="*/ 693887 h 796263"/>
                  <a:gd name="connsiteX3" fmla="*/ 0 w 559280"/>
                  <a:gd name="connsiteY3" fmla="*/ 546009 h 796263"/>
                  <a:gd name="connsiteX4" fmla="*/ 0 w 559280"/>
                  <a:gd name="connsiteY4" fmla="*/ 0 h 796263"/>
                  <a:gd name="connsiteX5" fmla="*/ 161149 w 559280"/>
                  <a:gd name="connsiteY5" fmla="*/ 0 h 796263"/>
                  <a:gd name="connsiteX6" fmla="*/ 161149 w 559280"/>
                  <a:gd name="connsiteY6" fmla="*/ 515675 h 796263"/>
                  <a:gd name="connsiteX7" fmla="*/ 174419 w 559280"/>
                  <a:gd name="connsiteY7" fmla="*/ 609521 h 796263"/>
                  <a:gd name="connsiteX8" fmla="*/ 281536 w 559280"/>
                  <a:gd name="connsiteY8" fmla="*/ 663553 h 796263"/>
                  <a:gd name="connsiteX9" fmla="*/ 400975 w 559280"/>
                  <a:gd name="connsiteY9" fmla="*/ 572551 h 796263"/>
                  <a:gd name="connsiteX10" fmla="*/ 402871 w 559280"/>
                  <a:gd name="connsiteY10" fmla="*/ 502404 h 796263"/>
                  <a:gd name="connsiteX11" fmla="*/ 402871 w 559280"/>
                  <a:gd name="connsiteY11" fmla="*/ 0 h 796263"/>
                  <a:gd name="connsiteX12" fmla="*/ 563071 w 559280"/>
                  <a:gd name="connsiteY12" fmla="*/ 0 h 796263"/>
                  <a:gd name="connsiteX13" fmla="*/ 563071 w 559280"/>
                  <a:gd name="connsiteY13" fmla="*/ 527998 h 796263"/>
                  <a:gd name="connsiteX14" fmla="*/ 551696 w 559280"/>
                  <a:gd name="connsiteY14" fmla="*/ 651230 h 7962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59280" h="796263">
                    <a:moveTo>
                      <a:pt x="551696" y="651230"/>
                    </a:moveTo>
                    <a:cubicBezTo>
                      <a:pt x="531790" y="712845"/>
                      <a:pt x="455008" y="799107"/>
                      <a:pt x="285327" y="799107"/>
                    </a:cubicBezTo>
                    <a:cubicBezTo>
                      <a:pt x="165888" y="799107"/>
                      <a:pt x="77730" y="763086"/>
                      <a:pt x="34125" y="693887"/>
                    </a:cubicBezTo>
                    <a:cubicBezTo>
                      <a:pt x="8530" y="653125"/>
                      <a:pt x="0" y="621844"/>
                      <a:pt x="0" y="546009"/>
                    </a:cubicBezTo>
                    <a:lnTo>
                      <a:pt x="0" y="0"/>
                    </a:lnTo>
                    <a:lnTo>
                      <a:pt x="161149" y="0"/>
                    </a:lnTo>
                    <a:lnTo>
                      <a:pt x="161149" y="515675"/>
                    </a:lnTo>
                    <a:cubicBezTo>
                      <a:pt x="161149" y="564020"/>
                      <a:pt x="165888" y="592458"/>
                      <a:pt x="174419" y="609521"/>
                    </a:cubicBezTo>
                    <a:cubicBezTo>
                      <a:pt x="192430" y="644594"/>
                      <a:pt x="229399" y="663553"/>
                      <a:pt x="281536" y="663553"/>
                    </a:cubicBezTo>
                    <a:cubicBezTo>
                      <a:pt x="350735" y="663553"/>
                      <a:pt x="394340" y="629427"/>
                      <a:pt x="400975" y="572551"/>
                    </a:cubicBezTo>
                    <a:cubicBezTo>
                      <a:pt x="402871" y="555488"/>
                      <a:pt x="402871" y="544113"/>
                      <a:pt x="402871" y="502404"/>
                    </a:cubicBezTo>
                    <a:lnTo>
                      <a:pt x="402871" y="0"/>
                    </a:lnTo>
                    <a:lnTo>
                      <a:pt x="563071" y="0"/>
                    </a:lnTo>
                    <a:lnTo>
                      <a:pt x="563071" y="527998"/>
                    </a:lnTo>
                    <a:cubicBezTo>
                      <a:pt x="564020" y="602885"/>
                      <a:pt x="563071" y="617104"/>
                      <a:pt x="551696" y="651230"/>
                    </a:cubicBezTo>
                    <a:close/>
                  </a:path>
                </a:pathLst>
              </a:custGeom>
              <a:grpFill/>
              <a:ln w="9473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68" name="Freihandform: Form 67">
                <a:extLst>
                  <a:ext uri="{FF2B5EF4-FFF2-40B4-BE49-F238E27FC236}">
                    <a16:creationId xmlns:a16="http://schemas.microsoft.com/office/drawing/2014/main" id="{EB2675F3-9C04-4C8B-95FE-C46737B09444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11629236" y="-2225698"/>
                <a:ext cx="559280" cy="777305"/>
              </a:xfrm>
              <a:custGeom>
                <a:avLst/>
                <a:gdLst>
                  <a:gd name="connsiteX0" fmla="*/ 539373 w 559280"/>
                  <a:gd name="connsiteY0" fmla="*/ 130815 h 777304"/>
                  <a:gd name="connsiteX1" fmla="*/ 351683 w 559280"/>
                  <a:gd name="connsiteY1" fmla="*/ 130815 h 777304"/>
                  <a:gd name="connsiteX2" fmla="*/ 351683 w 559280"/>
                  <a:gd name="connsiteY2" fmla="*/ 783940 h 777304"/>
                  <a:gd name="connsiteX3" fmla="*/ 191482 w 559280"/>
                  <a:gd name="connsiteY3" fmla="*/ 783940 h 777304"/>
                  <a:gd name="connsiteX4" fmla="*/ 191482 w 559280"/>
                  <a:gd name="connsiteY4" fmla="*/ 130815 h 777304"/>
                  <a:gd name="connsiteX5" fmla="*/ 0 w 559280"/>
                  <a:gd name="connsiteY5" fmla="*/ 130815 h 777304"/>
                  <a:gd name="connsiteX6" fmla="*/ 0 w 559280"/>
                  <a:gd name="connsiteY6" fmla="*/ 0 h 777304"/>
                  <a:gd name="connsiteX7" fmla="*/ 564968 w 559280"/>
                  <a:gd name="connsiteY7" fmla="*/ 0 h 777304"/>
                  <a:gd name="connsiteX8" fmla="*/ 539373 w 559280"/>
                  <a:gd name="connsiteY8" fmla="*/ 130815 h 7773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59280" h="777304">
                    <a:moveTo>
                      <a:pt x="539373" y="130815"/>
                    </a:moveTo>
                    <a:lnTo>
                      <a:pt x="351683" y="130815"/>
                    </a:lnTo>
                    <a:lnTo>
                      <a:pt x="351683" y="783940"/>
                    </a:lnTo>
                    <a:lnTo>
                      <a:pt x="191482" y="783940"/>
                    </a:lnTo>
                    <a:lnTo>
                      <a:pt x="191482" y="130815"/>
                    </a:lnTo>
                    <a:lnTo>
                      <a:pt x="0" y="130815"/>
                    </a:lnTo>
                    <a:lnTo>
                      <a:pt x="0" y="0"/>
                    </a:lnTo>
                    <a:lnTo>
                      <a:pt x="564968" y="0"/>
                    </a:lnTo>
                    <a:lnTo>
                      <a:pt x="539373" y="130815"/>
                    </a:lnTo>
                    <a:close/>
                  </a:path>
                </a:pathLst>
              </a:custGeom>
              <a:grpFill/>
              <a:ln w="9473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</p:grpSp>
        <p:grpSp>
          <p:nvGrpSpPr>
            <p:cNvPr id="27" name="Gruppieren 26">
              <a:extLst>
                <a:ext uri="{FF2B5EF4-FFF2-40B4-BE49-F238E27FC236}">
                  <a16:creationId xmlns:a16="http://schemas.microsoft.com/office/drawing/2014/main" id="{1500B7A9-7913-4BF7-9347-D2F73607F7C5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-1" y="-1266391"/>
              <a:ext cx="12159130" cy="942246"/>
              <a:chOff x="-1" y="-1266391"/>
              <a:chExt cx="12159130" cy="942246"/>
            </a:xfrm>
            <a:solidFill>
              <a:srgbClr val="D0D1D3"/>
            </a:solidFill>
          </p:grpSpPr>
          <p:sp>
            <p:nvSpPr>
              <p:cNvPr id="28" name="Freihandform: Form 27">
                <a:extLst>
                  <a:ext uri="{FF2B5EF4-FFF2-40B4-BE49-F238E27FC236}">
                    <a16:creationId xmlns:a16="http://schemas.microsoft.com/office/drawing/2014/main" id="{CADFB71F-B75B-4E8A-AB14-3D7A9E2E3FA9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-1" y="-1101450"/>
                <a:ext cx="502404" cy="777305"/>
              </a:xfrm>
              <a:custGeom>
                <a:avLst/>
                <a:gdLst>
                  <a:gd name="connsiteX0" fmla="*/ 450268 w 502404"/>
                  <a:gd name="connsiteY0" fmla="*/ 720429 h 777304"/>
                  <a:gd name="connsiteX1" fmla="*/ 249306 w 502404"/>
                  <a:gd name="connsiteY1" fmla="*/ 780148 h 777304"/>
                  <a:gd name="connsiteX2" fmla="*/ 22750 w 502404"/>
                  <a:gd name="connsiteY2" fmla="*/ 669240 h 777304"/>
                  <a:gd name="connsiteX3" fmla="*/ 0 w 502404"/>
                  <a:gd name="connsiteY3" fmla="*/ 549801 h 777304"/>
                  <a:gd name="connsiteX4" fmla="*/ 0 w 502404"/>
                  <a:gd name="connsiteY4" fmla="*/ 0 h 777304"/>
                  <a:gd name="connsiteX5" fmla="*/ 91002 w 502404"/>
                  <a:gd name="connsiteY5" fmla="*/ 0 h 777304"/>
                  <a:gd name="connsiteX6" fmla="*/ 91002 w 502404"/>
                  <a:gd name="connsiteY6" fmla="*/ 516623 h 777304"/>
                  <a:gd name="connsiteX7" fmla="*/ 104273 w 502404"/>
                  <a:gd name="connsiteY7" fmla="*/ 627531 h 777304"/>
                  <a:gd name="connsiteX8" fmla="*/ 254046 w 502404"/>
                  <a:gd name="connsiteY8" fmla="*/ 702418 h 777304"/>
                  <a:gd name="connsiteX9" fmla="*/ 389600 w 502404"/>
                  <a:gd name="connsiteY9" fmla="*/ 654073 h 777304"/>
                  <a:gd name="connsiteX10" fmla="*/ 418986 w 502404"/>
                  <a:gd name="connsiteY10" fmla="*/ 534634 h 777304"/>
                  <a:gd name="connsiteX11" fmla="*/ 418986 w 502404"/>
                  <a:gd name="connsiteY11" fmla="*/ 0 h 777304"/>
                  <a:gd name="connsiteX12" fmla="*/ 509988 w 502404"/>
                  <a:gd name="connsiteY12" fmla="*/ 0 h 777304"/>
                  <a:gd name="connsiteX13" fmla="*/ 509988 w 502404"/>
                  <a:gd name="connsiteY13" fmla="*/ 546009 h 777304"/>
                  <a:gd name="connsiteX14" fmla="*/ 450268 w 502404"/>
                  <a:gd name="connsiteY14" fmla="*/ 720429 h 7773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02404" h="777304">
                    <a:moveTo>
                      <a:pt x="450268" y="720429"/>
                    </a:moveTo>
                    <a:cubicBezTo>
                      <a:pt x="402871" y="760242"/>
                      <a:pt x="342204" y="780148"/>
                      <a:pt x="249306" y="780148"/>
                    </a:cubicBezTo>
                    <a:cubicBezTo>
                      <a:pt x="130815" y="780148"/>
                      <a:pt x="63511" y="745075"/>
                      <a:pt x="22750" y="669240"/>
                    </a:cubicBezTo>
                    <a:cubicBezTo>
                      <a:pt x="2844" y="632271"/>
                      <a:pt x="0" y="582978"/>
                      <a:pt x="0" y="549801"/>
                    </a:cubicBezTo>
                    <a:lnTo>
                      <a:pt x="0" y="0"/>
                    </a:lnTo>
                    <a:lnTo>
                      <a:pt x="91002" y="0"/>
                    </a:lnTo>
                    <a:lnTo>
                      <a:pt x="91002" y="516623"/>
                    </a:lnTo>
                    <a:cubicBezTo>
                      <a:pt x="91002" y="554540"/>
                      <a:pt x="94793" y="603833"/>
                      <a:pt x="104273" y="627531"/>
                    </a:cubicBezTo>
                    <a:cubicBezTo>
                      <a:pt x="118492" y="660709"/>
                      <a:pt x="160201" y="702418"/>
                      <a:pt x="254046" y="702418"/>
                    </a:cubicBezTo>
                    <a:cubicBezTo>
                      <a:pt x="317557" y="702418"/>
                      <a:pt x="365902" y="685355"/>
                      <a:pt x="389600" y="654073"/>
                    </a:cubicBezTo>
                    <a:cubicBezTo>
                      <a:pt x="415194" y="619000"/>
                      <a:pt x="418986" y="585822"/>
                      <a:pt x="418986" y="534634"/>
                    </a:cubicBezTo>
                    <a:lnTo>
                      <a:pt x="418986" y="0"/>
                    </a:lnTo>
                    <a:lnTo>
                      <a:pt x="509988" y="0"/>
                    </a:lnTo>
                    <a:lnTo>
                      <a:pt x="509988" y="546009"/>
                    </a:lnTo>
                    <a:cubicBezTo>
                      <a:pt x="509040" y="637011"/>
                      <a:pt x="496717" y="680615"/>
                      <a:pt x="450268" y="720429"/>
                    </a:cubicBezTo>
                    <a:close/>
                  </a:path>
                </a:pathLst>
              </a:custGeom>
              <a:grpFill/>
              <a:ln w="9473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29" name="Freihandform: Form 28">
                <a:extLst>
                  <a:ext uri="{FF2B5EF4-FFF2-40B4-BE49-F238E27FC236}">
                    <a16:creationId xmlns:a16="http://schemas.microsoft.com/office/drawing/2014/main" id="{A5678F48-15C6-44A3-8572-BC2638F6DB01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716636" y="-1102398"/>
                <a:ext cx="502404" cy="758346"/>
              </a:xfrm>
              <a:custGeom>
                <a:avLst/>
                <a:gdLst>
                  <a:gd name="connsiteX0" fmla="*/ 412351 w 502404"/>
                  <a:gd name="connsiteY0" fmla="*/ 766877 h 758345"/>
                  <a:gd name="connsiteX1" fmla="*/ 166836 w 502404"/>
                  <a:gd name="connsiteY1" fmla="*/ 297651 h 758345"/>
                  <a:gd name="connsiteX2" fmla="*/ 79626 w 502404"/>
                  <a:gd name="connsiteY2" fmla="*/ 112804 h 758345"/>
                  <a:gd name="connsiteX3" fmla="*/ 90054 w 502404"/>
                  <a:gd name="connsiteY3" fmla="*/ 322297 h 758345"/>
                  <a:gd name="connsiteX4" fmla="*/ 94793 w 502404"/>
                  <a:gd name="connsiteY4" fmla="*/ 766877 h 758345"/>
                  <a:gd name="connsiteX5" fmla="*/ 0 w 502404"/>
                  <a:gd name="connsiteY5" fmla="*/ 766877 h 758345"/>
                  <a:gd name="connsiteX6" fmla="*/ 0 w 502404"/>
                  <a:gd name="connsiteY6" fmla="*/ 0 h 758345"/>
                  <a:gd name="connsiteX7" fmla="*/ 106168 w 502404"/>
                  <a:gd name="connsiteY7" fmla="*/ 0 h 758345"/>
                  <a:gd name="connsiteX8" fmla="*/ 361162 w 502404"/>
                  <a:gd name="connsiteY8" fmla="*/ 490081 h 758345"/>
                  <a:gd name="connsiteX9" fmla="*/ 432257 w 502404"/>
                  <a:gd name="connsiteY9" fmla="*/ 651230 h 758345"/>
                  <a:gd name="connsiteX10" fmla="*/ 421830 w 502404"/>
                  <a:gd name="connsiteY10" fmla="*/ 417090 h 758345"/>
                  <a:gd name="connsiteX11" fmla="*/ 418038 w 502404"/>
                  <a:gd name="connsiteY11" fmla="*/ 0 h 758345"/>
                  <a:gd name="connsiteX12" fmla="*/ 509040 w 502404"/>
                  <a:gd name="connsiteY12" fmla="*/ 0 h 758345"/>
                  <a:gd name="connsiteX13" fmla="*/ 509040 w 502404"/>
                  <a:gd name="connsiteY13" fmla="*/ 766877 h 758345"/>
                  <a:gd name="connsiteX14" fmla="*/ 412351 w 502404"/>
                  <a:gd name="connsiteY14" fmla="*/ 766877 h 7583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02404" h="758345">
                    <a:moveTo>
                      <a:pt x="412351" y="766877"/>
                    </a:moveTo>
                    <a:lnTo>
                      <a:pt x="166836" y="297651"/>
                    </a:lnTo>
                    <a:cubicBezTo>
                      <a:pt x="117544" y="204753"/>
                      <a:pt x="79626" y="112804"/>
                      <a:pt x="79626" y="112804"/>
                    </a:cubicBezTo>
                    <a:cubicBezTo>
                      <a:pt x="79626" y="112804"/>
                      <a:pt x="88158" y="222764"/>
                      <a:pt x="90054" y="322297"/>
                    </a:cubicBezTo>
                    <a:lnTo>
                      <a:pt x="94793" y="766877"/>
                    </a:lnTo>
                    <a:lnTo>
                      <a:pt x="0" y="766877"/>
                    </a:lnTo>
                    <a:lnTo>
                      <a:pt x="0" y="0"/>
                    </a:lnTo>
                    <a:lnTo>
                      <a:pt x="106168" y="0"/>
                    </a:lnTo>
                    <a:lnTo>
                      <a:pt x="361162" y="490081"/>
                    </a:lnTo>
                    <a:cubicBezTo>
                      <a:pt x="399080" y="563072"/>
                      <a:pt x="429414" y="643646"/>
                      <a:pt x="432257" y="651230"/>
                    </a:cubicBezTo>
                    <a:cubicBezTo>
                      <a:pt x="432257" y="649334"/>
                      <a:pt x="423726" y="527050"/>
                      <a:pt x="421830" y="417090"/>
                    </a:cubicBezTo>
                    <a:lnTo>
                      <a:pt x="418038" y="0"/>
                    </a:lnTo>
                    <a:lnTo>
                      <a:pt x="509040" y="0"/>
                    </a:lnTo>
                    <a:lnTo>
                      <a:pt x="509040" y="766877"/>
                    </a:lnTo>
                    <a:lnTo>
                      <a:pt x="412351" y="766877"/>
                    </a:lnTo>
                    <a:close/>
                  </a:path>
                </a:pathLst>
              </a:custGeom>
              <a:grpFill/>
              <a:ln w="9473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30" name="Freihandform: Form 29">
                <a:extLst>
                  <a:ext uri="{FF2B5EF4-FFF2-40B4-BE49-F238E27FC236}">
                    <a16:creationId xmlns:a16="http://schemas.microsoft.com/office/drawing/2014/main" id="{0271EB20-DF89-46BB-AE7E-F07C43930498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1438013" y="-1102398"/>
                <a:ext cx="85314" cy="758346"/>
              </a:xfrm>
              <a:custGeom>
                <a:avLst/>
                <a:gdLst>
                  <a:gd name="connsiteX0" fmla="*/ 0 w 85313"/>
                  <a:gd name="connsiteY0" fmla="*/ 766877 h 758345"/>
                  <a:gd name="connsiteX1" fmla="*/ 0 w 85313"/>
                  <a:gd name="connsiteY1" fmla="*/ 0 h 758345"/>
                  <a:gd name="connsiteX2" fmla="*/ 89106 w 85313"/>
                  <a:gd name="connsiteY2" fmla="*/ 0 h 758345"/>
                  <a:gd name="connsiteX3" fmla="*/ 89106 w 85313"/>
                  <a:gd name="connsiteY3" fmla="*/ 766877 h 758345"/>
                  <a:gd name="connsiteX4" fmla="*/ 0 w 85313"/>
                  <a:gd name="connsiteY4" fmla="*/ 766877 h 7583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313" h="758345">
                    <a:moveTo>
                      <a:pt x="0" y="766877"/>
                    </a:moveTo>
                    <a:lnTo>
                      <a:pt x="0" y="0"/>
                    </a:lnTo>
                    <a:lnTo>
                      <a:pt x="89106" y="0"/>
                    </a:lnTo>
                    <a:lnTo>
                      <a:pt x="89106" y="766877"/>
                    </a:lnTo>
                    <a:lnTo>
                      <a:pt x="0" y="766877"/>
                    </a:lnTo>
                    <a:close/>
                  </a:path>
                </a:pathLst>
              </a:custGeom>
              <a:grpFill/>
              <a:ln w="9473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31" name="Freihandform: Form 30">
                <a:extLst>
                  <a:ext uri="{FF2B5EF4-FFF2-40B4-BE49-F238E27FC236}">
                    <a16:creationId xmlns:a16="http://schemas.microsoft.com/office/drawing/2014/main" id="{872D2E13-7CCD-4E55-84CD-B5E30B78AC02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1650350" y="-1103346"/>
                <a:ext cx="606677" cy="767825"/>
              </a:xfrm>
              <a:custGeom>
                <a:avLst/>
                <a:gdLst>
                  <a:gd name="connsiteX0" fmla="*/ 348839 w 606676"/>
                  <a:gd name="connsiteY0" fmla="*/ 767825 h 767825"/>
                  <a:gd name="connsiteX1" fmla="*/ 257838 w 606676"/>
                  <a:gd name="connsiteY1" fmla="*/ 767825 h 767825"/>
                  <a:gd name="connsiteX2" fmla="*/ 0 w 606676"/>
                  <a:gd name="connsiteY2" fmla="*/ 948 h 767825"/>
                  <a:gd name="connsiteX3" fmla="*/ 99533 w 606676"/>
                  <a:gd name="connsiteY3" fmla="*/ 948 h 767825"/>
                  <a:gd name="connsiteX4" fmla="*/ 261629 w 606676"/>
                  <a:gd name="connsiteY4" fmla="*/ 494821 h 767825"/>
                  <a:gd name="connsiteX5" fmla="*/ 306182 w 606676"/>
                  <a:gd name="connsiteY5" fmla="*/ 665449 h 767825"/>
                  <a:gd name="connsiteX6" fmla="*/ 353579 w 606676"/>
                  <a:gd name="connsiteY6" fmla="*/ 505248 h 767825"/>
                  <a:gd name="connsiteX7" fmla="*/ 517571 w 606676"/>
                  <a:gd name="connsiteY7" fmla="*/ 0 h 767825"/>
                  <a:gd name="connsiteX8" fmla="*/ 611417 w 606676"/>
                  <a:gd name="connsiteY8" fmla="*/ 0 h 767825"/>
                  <a:gd name="connsiteX9" fmla="*/ 348839 w 606676"/>
                  <a:gd name="connsiteY9" fmla="*/ 767825 h 767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06676" h="767825">
                    <a:moveTo>
                      <a:pt x="348839" y="767825"/>
                    </a:moveTo>
                    <a:lnTo>
                      <a:pt x="257838" y="767825"/>
                    </a:lnTo>
                    <a:lnTo>
                      <a:pt x="0" y="948"/>
                    </a:lnTo>
                    <a:lnTo>
                      <a:pt x="99533" y="948"/>
                    </a:lnTo>
                    <a:lnTo>
                      <a:pt x="261629" y="494821"/>
                    </a:lnTo>
                    <a:cubicBezTo>
                      <a:pt x="284380" y="562124"/>
                      <a:pt x="303338" y="643646"/>
                      <a:pt x="306182" y="665449"/>
                    </a:cubicBezTo>
                    <a:cubicBezTo>
                      <a:pt x="310922" y="646490"/>
                      <a:pt x="326089" y="588666"/>
                      <a:pt x="353579" y="505248"/>
                    </a:cubicBezTo>
                    <a:lnTo>
                      <a:pt x="517571" y="0"/>
                    </a:lnTo>
                    <a:lnTo>
                      <a:pt x="611417" y="0"/>
                    </a:lnTo>
                    <a:lnTo>
                      <a:pt x="348839" y="767825"/>
                    </a:lnTo>
                    <a:close/>
                  </a:path>
                </a:pathLst>
              </a:custGeom>
              <a:grpFill/>
              <a:ln w="9473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32" name="Freihandform: Form 31">
                <a:extLst>
                  <a:ext uri="{FF2B5EF4-FFF2-40B4-BE49-F238E27FC236}">
                    <a16:creationId xmlns:a16="http://schemas.microsoft.com/office/drawing/2014/main" id="{652F9D92-5CEC-434A-A2C7-B2832D35A15B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2384997" y="-1102398"/>
                <a:ext cx="426570" cy="758346"/>
              </a:xfrm>
              <a:custGeom>
                <a:avLst/>
                <a:gdLst>
                  <a:gd name="connsiteX0" fmla="*/ 0 w 426569"/>
                  <a:gd name="connsiteY0" fmla="*/ 766877 h 758345"/>
                  <a:gd name="connsiteX1" fmla="*/ 0 w 426569"/>
                  <a:gd name="connsiteY1" fmla="*/ 0 h 758345"/>
                  <a:gd name="connsiteX2" fmla="*/ 418986 w 426569"/>
                  <a:gd name="connsiteY2" fmla="*/ 0 h 758345"/>
                  <a:gd name="connsiteX3" fmla="*/ 406663 w 426569"/>
                  <a:gd name="connsiteY3" fmla="*/ 75835 h 758345"/>
                  <a:gd name="connsiteX4" fmla="*/ 92897 w 426569"/>
                  <a:gd name="connsiteY4" fmla="*/ 75835 h 758345"/>
                  <a:gd name="connsiteX5" fmla="*/ 92897 w 426569"/>
                  <a:gd name="connsiteY5" fmla="*/ 327037 h 758345"/>
                  <a:gd name="connsiteX6" fmla="*/ 355475 w 426569"/>
                  <a:gd name="connsiteY6" fmla="*/ 327037 h 758345"/>
                  <a:gd name="connsiteX7" fmla="*/ 355475 w 426569"/>
                  <a:gd name="connsiteY7" fmla="*/ 406663 h 758345"/>
                  <a:gd name="connsiteX8" fmla="*/ 92897 w 426569"/>
                  <a:gd name="connsiteY8" fmla="*/ 406663 h 758345"/>
                  <a:gd name="connsiteX9" fmla="*/ 92897 w 426569"/>
                  <a:gd name="connsiteY9" fmla="*/ 687251 h 758345"/>
                  <a:gd name="connsiteX10" fmla="*/ 430361 w 426569"/>
                  <a:gd name="connsiteY10" fmla="*/ 687251 h 758345"/>
                  <a:gd name="connsiteX11" fmla="*/ 430361 w 426569"/>
                  <a:gd name="connsiteY11" fmla="*/ 766877 h 758345"/>
                  <a:gd name="connsiteX12" fmla="*/ 0 w 426569"/>
                  <a:gd name="connsiteY12" fmla="*/ 766877 h 7583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26569" h="758345">
                    <a:moveTo>
                      <a:pt x="0" y="766877"/>
                    </a:moveTo>
                    <a:lnTo>
                      <a:pt x="0" y="0"/>
                    </a:lnTo>
                    <a:lnTo>
                      <a:pt x="418986" y="0"/>
                    </a:lnTo>
                    <a:lnTo>
                      <a:pt x="406663" y="75835"/>
                    </a:lnTo>
                    <a:lnTo>
                      <a:pt x="92897" y="75835"/>
                    </a:lnTo>
                    <a:lnTo>
                      <a:pt x="92897" y="327037"/>
                    </a:lnTo>
                    <a:lnTo>
                      <a:pt x="355475" y="327037"/>
                    </a:lnTo>
                    <a:lnTo>
                      <a:pt x="355475" y="406663"/>
                    </a:lnTo>
                    <a:lnTo>
                      <a:pt x="92897" y="406663"/>
                    </a:lnTo>
                    <a:lnTo>
                      <a:pt x="92897" y="687251"/>
                    </a:lnTo>
                    <a:lnTo>
                      <a:pt x="430361" y="687251"/>
                    </a:lnTo>
                    <a:lnTo>
                      <a:pt x="430361" y="766877"/>
                    </a:lnTo>
                    <a:lnTo>
                      <a:pt x="0" y="766877"/>
                    </a:lnTo>
                    <a:close/>
                  </a:path>
                </a:pathLst>
              </a:custGeom>
              <a:grpFill/>
              <a:ln w="9473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33" name="Freihandform: Form 32">
                <a:extLst>
                  <a:ext uri="{FF2B5EF4-FFF2-40B4-BE49-F238E27FC236}">
                    <a16:creationId xmlns:a16="http://schemas.microsoft.com/office/drawing/2014/main" id="{E236A767-8BF9-4137-9E36-DDC8F6E411A7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2966080" y="-1102398"/>
                <a:ext cx="483446" cy="767825"/>
              </a:xfrm>
              <a:custGeom>
                <a:avLst/>
                <a:gdLst>
                  <a:gd name="connsiteX0" fmla="*/ 372538 w 483445"/>
                  <a:gd name="connsiteY0" fmla="*/ 766877 h 767825"/>
                  <a:gd name="connsiteX1" fmla="*/ 177264 w 483445"/>
                  <a:gd name="connsiteY1" fmla="*/ 469227 h 767825"/>
                  <a:gd name="connsiteX2" fmla="*/ 91950 w 483445"/>
                  <a:gd name="connsiteY2" fmla="*/ 419934 h 767825"/>
                  <a:gd name="connsiteX3" fmla="*/ 91950 w 483445"/>
                  <a:gd name="connsiteY3" fmla="*/ 766877 h 767825"/>
                  <a:gd name="connsiteX4" fmla="*/ 0 w 483445"/>
                  <a:gd name="connsiteY4" fmla="*/ 766877 h 767825"/>
                  <a:gd name="connsiteX5" fmla="*/ 0 w 483445"/>
                  <a:gd name="connsiteY5" fmla="*/ 0 h 767825"/>
                  <a:gd name="connsiteX6" fmla="*/ 179159 w 483445"/>
                  <a:gd name="connsiteY6" fmla="*/ 0 h 767825"/>
                  <a:gd name="connsiteX7" fmla="*/ 372538 w 483445"/>
                  <a:gd name="connsiteY7" fmla="*/ 49292 h 767825"/>
                  <a:gd name="connsiteX8" fmla="*/ 448372 w 483445"/>
                  <a:gd name="connsiteY8" fmla="*/ 210441 h 767825"/>
                  <a:gd name="connsiteX9" fmla="*/ 244567 w 483445"/>
                  <a:gd name="connsiteY9" fmla="*/ 420882 h 767825"/>
                  <a:gd name="connsiteX10" fmla="*/ 233191 w 483445"/>
                  <a:gd name="connsiteY10" fmla="*/ 420882 h 767825"/>
                  <a:gd name="connsiteX11" fmla="*/ 309974 w 483445"/>
                  <a:gd name="connsiteY11" fmla="*/ 507144 h 767825"/>
                  <a:gd name="connsiteX12" fmla="*/ 486290 w 483445"/>
                  <a:gd name="connsiteY12" fmla="*/ 767825 h 767825"/>
                  <a:gd name="connsiteX13" fmla="*/ 372538 w 483445"/>
                  <a:gd name="connsiteY13" fmla="*/ 767825 h 767825"/>
                  <a:gd name="connsiteX14" fmla="*/ 277744 w 483445"/>
                  <a:gd name="connsiteY14" fmla="*/ 92897 h 767825"/>
                  <a:gd name="connsiteX15" fmla="*/ 182003 w 483445"/>
                  <a:gd name="connsiteY15" fmla="*/ 76783 h 767825"/>
                  <a:gd name="connsiteX16" fmla="*/ 93845 w 483445"/>
                  <a:gd name="connsiteY16" fmla="*/ 76783 h 767825"/>
                  <a:gd name="connsiteX17" fmla="*/ 93845 w 483445"/>
                  <a:gd name="connsiteY17" fmla="*/ 363058 h 767825"/>
                  <a:gd name="connsiteX18" fmla="*/ 175368 w 483445"/>
                  <a:gd name="connsiteY18" fmla="*/ 363058 h 767825"/>
                  <a:gd name="connsiteX19" fmla="*/ 313766 w 483445"/>
                  <a:gd name="connsiteY19" fmla="*/ 324193 h 767825"/>
                  <a:gd name="connsiteX20" fmla="*/ 352631 w 483445"/>
                  <a:gd name="connsiteY20" fmla="*/ 209493 h 767825"/>
                  <a:gd name="connsiteX21" fmla="*/ 277744 w 483445"/>
                  <a:gd name="connsiteY21" fmla="*/ 92897 h 767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483445" h="767825">
                    <a:moveTo>
                      <a:pt x="372538" y="766877"/>
                    </a:moveTo>
                    <a:cubicBezTo>
                      <a:pt x="349787" y="716637"/>
                      <a:pt x="278692" y="599093"/>
                      <a:pt x="177264" y="469227"/>
                    </a:cubicBezTo>
                    <a:cubicBezTo>
                      <a:pt x="146930" y="431309"/>
                      <a:pt x="129867" y="420882"/>
                      <a:pt x="91950" y="419934"/>
                    </a:cubicBezTo>
                    <a:lnTo>
                      <a:pt x="91950" y="766877"/>
                    </a:lnTo>
                    <a:lnTo>
                      <a:pt x="0" y="766877"/>
                    </a:lnTo>
                    <a:lnTo>
                      <a:pt x="0" y="0"/>
                    </a:lnTo>
                    <a:lnTo>
                      <a:pt x="179159" y="0"/>
                    </a:lnTo>
                    <a:cubicBezTo>
                      <a:pt x="284380" y="0"/>
                      <a:pt x="335568" y="18959"/>
                      <a:pt x="372538" y="49292"/>
                    </a:cubicBezTo>
                    <a:cubicBezTo>
                      <a:pt x="407611" y="76783"/>
                      <a:pt x="448372" y="128919"/>
                      <a:pt x="448372" y="210441"/>
                    </a:cubicBezTo>
                    <a:cubicBezTo>
                      <a:pt x="448372" y="336516"/>
                      <a:pt x="366850" y="420882"/>
                      <a:pt x="244567" y="420882"/>
                    </a:cubicBezTo>
                    <a:lnTo>
                      <a:pt x="233191" y="420882"/>
                    </a:lnTo>
                    <a:cubicBezTo>
                      <a:pt x="269213" y="450268"/>
                      <a:pt x="294807" y="485341"/>
                      <a:pt x="309974" y="507144"/>
                    </a:cubicBezTo>
                    <a:cubicBezTo>
                      <a:pt x="342204" y="550749"/>
                      <a:pt x="486290" y="767825"/>
                      <a:pt x="486290" y="767825"/>
                    </a:cubicBezTo>
                    <a:lnTo>
                      <a:pt x="372538" y="767825"/>
                    </a:lnTo>
                    <a:close/>
                    <a:moveTo>
                      <a:pt x="277744" y="92897"/>
                    </a:moveTo>
                    <a:cubicBezTo>
                      <a:pt x="253098" y="82470"/>
                      <a:pt x="222764" y="76783"/>
                      <a:pt x="182003" y="76783"/>
                    </a:cubicBezTo>
                    <a:lnTo>
                      <a:pt x="93845" y="76783"/>
                    </a:lnTo>
                    <a:lnTo>
                      <a:pt x="93845" y="363058"/>
                    </a:lnTo>
                    <a:lnTo>
                      <a:pt x="175368" y="363058"/>
                    </a:lnTo>
                    <a:cubicBezTo>
                      <a:pt x="243619" y="363058"/>
                      <a:pt x="285328" y="350735"/>
                      <a:pt x="313766" y="324193"/>
                    </a:cubicBezTo>
                    <a:cubicBezTo>
                      <a:pt x="339360" y="300495"/>
                      <a:pt x="352631" y="259733"/>
                      <a:pt x="352631" y="209493"/>
                    </a:cubicBezTo>
                    <a:cubicBezTo>
                      <a:pt x="352631" y="158305"/>
                      <a:pt x="321349" y="110908"/>
                      <a:pt x="277744" y="92897"/>
                    </a:cubicBezTo>
                    <a:close/>
                  </a:path>
                </a:pathLst>
              </a:custGeom>
              <a:grpFill/>
              <a:ln w="9473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34" name="Freihandform: Form 33">
                <a:extLst>
                  <a:ext uri="{FF2B5EF4-FFF2-40B4-BE49-F238E27FC236}">
                    <a16:creationId xmlns:a16="http://schemas.microsoft.com/office/drawing/2014/main" id="{07E51DCE-DAAC-4190-BE73-21FD79F57D84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3543371" y="-1116617"/>
                <a:ext cx="521363" cy="786784"/>
              </a:xfrm>
              <a:custGeom>
                <a:avLst/>
                <a:gdLst>
                  <a:gd name="connsiteX0" fmla="*/ 418038 w 521362"/>
                  <a:gd name="connsiteY0" fmla="*/ 748867 h 786783"/>
                  <a:gd name="connsiteX1" fmla="*/ 245515 w 521362"/>
                  <a:gd name="connsiteY1" fmla="*/ 795315 h 786783"/>
                  <a:gd name="connsiteX2" fmla="*/ 0 w 521362"/>
                  <a:gd name="connsiteY2" fmla="*/ 726116 h 786783"/>
                  <a:gd name="connsiteX3" fmla="*/ 39813 w 521362"/>
                  <a:gd name="connsiteY3" fmla="*/ 655021 h 786783"/>
                  <a:gd name="connsiteX4" fmla="*/ 245515 w 521362"/>
                  <a:gd name="connsiteY4" fmla="*/ 720429 h 786783"/>
                  <a:gd name="connsiteX5" fmla="*/ 367798 w 521362"/>
                  <a:gd name="connsiteY5" fmla="*/ 687251 h 786783"/>
                  <a:gd name="connsiteX6" fmla="*/ 422778 w 521362"/>
                  <a:gd name="connsiteY6" fmla="*/ 578239 h 786783"/>
                  <a:gd name="connsiteX7" fmla="*/ 285328 w 521362"/>
                  <a:gd name="connsiteY7" fmla="*/ 436049 h 786783"/>
                  <a:gd name="connsiteX8" fmla="*/ 208545 w 521362"/>
                  <a:gd name="connsiteY8" fmla="*/ 412351 h 786783"/>
                  <a:gd name="connsiteX9" fmla="*/ 72043 w 521362"/>
                  <a:gd name="connsiteY9" fmla="*/ 344099 h 786783"/>
                  <a:gd name="connsiteX10" fmla="*/ 23698 w 521362"/>
                  <a:gd name="connsiteY10" fmla="*/ 218972 h 786783"/>
                  <a:gd name="connsiteX11" fmla="*/ 272057 w 521362"/>
                  <a:gd name="connsiteY11" fmla="*/ 0 h 786783"/>
                  <a:gd name="connsiteX12" fmla="*/ 503352 w 521362"/>
                  <a:gd name="connsiteY12" fmla="*/ 73939 h 786783"/>
                  <a:gd name="connsiteX13" fmla="*/ 463539 w 521362"/>
                  <a:gd name="connsiteY13" fmla="*/ 139346 h 786783"/>
                  <a:gd name="connsiteX14" fmla="*/ 276796 w 521362"/>
                  <a:gd name="connsiteY14" fmla="*/ 74887 h 786783"/>
                  <a:gd name="connsiteX15" fmla="*/ 123231 w 521362"/>
                  <a:gd name="connsiteY15" fmla="*/ 200962 h 786783"/>
                  <a:gd name="connsiteX16" fmla="*/ 250254 w 521362"/>
                  <a:gd name="connsiteY16" fmla="*/ 326089 h 786783"/>
                  <a:gd name="connsiteX17" fmla="*/ 338412 w 521362"/>
                  <a:gd name="connsiteY17" fmla="*/ 353579 h 786783"/>
                  <a:gd name="connsiteX18" fmla="*/ 473966 w 521362"/>
                  <a:gd name="connsiteY18" fmla="*/ 430361 h 786783"/>
                  <a:gd name="connsiteX19" fmla="*/ 524207 w 521362"/>
                  <a:gd name="connsiteY19" fmla="*/ 564968 h 786783"/>
                  <a:gd name="connsiteX20" fmla="*/ 418038 w 521362"/>
                  <a:gd name="connsiteY20" fmla="*/ 748867 h 7867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521362" h="786783">
                    <a:moveTo>
                      <a:pt x="418038" y="748867"/>
                    </a:moveTo>
                    <a:cubicBezTo>
                      <a:pt x="367798" y="781096"/>
                      <a:pt x="316610" y="795315"/>
                      <a:pt x="245515" y="795315"/>
                    </a:cubicBezTo>
                    <a:cubicBezTo>
                      <a:pt x="153565" y="795315"/>
                      <a:pt x="75835" y="773513"/>
                      <a:pt x="0" y="726116"/>
                    </a:cubicBezTo>
                    <a:lnTo>
                      <a:pt x="39813" y="655021"/>
                    </a:lnTo>
                    <a:cubicBezTo>
                      <a:pt x="103325" y="700522"/>
                      <a:pt x="168732" y="720429"/>
                      <a:pt x="245515" y="720429"/>
                    </a:cubicBezTo>
                    <a:cubicBezTo>
                      <a:pt x="303338" y="720429"/>
                      <a:pt x="334620" y="711897"/>
                      <a:pt x="367798" y="687251"/>
                    </a:cubicBezTo>
                    <a:cubicBezTo>
                      <a:pt x="404767" y="659761"/>
                      <a:pt x="422778" y="622792"/>
                      <a:pt x="422778" y="578239"/>
                    </a:cubicBezTo>
                    <a:cubicBezTo>
                      <a:pt x="422778" y="509988"/>
                      <a:pt x="378225" y="463539"/>
                      <a:pt x="285328" y="436049"/>
                    </a:cubicBezTo>
                    <a:lnTo>
                      <a:pt x="208545" y="412351"/>
                    </a:lnTo>
                    <a:cubicBezTo>
                      <a:pt x="139346" y="391496"/>
                      <a:pt x="102377" y="375381"/>
                      <a:pt x="72043" y="344099"/>
                    </a:cubicBezTo>
                    <a:cubicBezTo>
                      <a:pt x="40761" y="310922"/>
                      <a:pt x="23698" y="268265"/>
                      <a:pt x="23698" y="218972"/>
                    </a:cubicBezTo>
                    <a:cubicBezTo>
                      <a:pt x="23698" y="89106"/>
                      <a:pt x="123231" y="0"/>
                      <a:pt x="272057" y="0"/>
                    </a:cubicBezTo>
                    <a:cubicBezTo>
                      <a:pt x="354527" y="0"/>
                      <a:pt x="430362" y="24646"/>
                      <a:pt x="503352" y="73939"/>
                    </a:cubicBezTo>
                    <a:lnTo>
                      <a:pt x="463539" y="139346"/>
                    </a:lnTo>
                    <a:cubicBezTo>
                      <a:pt x="389600" y="91001"/>
                      <a:pt x="343152" y="74887"/>
                      <a:pt x="276796" y="74887"/>
                    </a:cubicBezTo>
                    <a:cubicBezTo>
                      <a:pt x="181055" y="74887"/>
                      <a:pt x="123231" y="123231"/>
                      <a:pt x="123231" y="200962"/>
                    </a:cubicBezTo>
                    <a:cubicBezTo>
                      <a:pt x="123231" y="262577"/>
                      <a:pt x="160201" y="296703"/>
                      <a:pt x="250254" y="326089"/>
                    </a:cubicBezTo>
                    <a:lnTo>
                      <a:pt x="338412" y="353579"/>
                    </a:lnTo>
                    <a:cubicBezTo>
                      <a:pt x="406663" y="374433"/>
                      <a:pt x="442685" y="394340"/>
                      <a:pt x="473966" y="430361"/>
                    </a:cubicBezTo>
                    <a:cubicBezTo>
                      <a:pt x="505248" y="466383"/>
                      <a:pt x="524207" y="517571"/>
                      <a:pt x="524207" y="564968"/>
                    </a:cubicBezTo>
                    <a:cubicBezTo>
                      <a:pt x="524207" y="636063"/>
                      <a:pt x="486290" y="705262"/>
                      <a:pt x="418038" y="748867"/>
                    </a:cubicBezTo>
                    <a:close/>
                  </a:path>
                </a:pathLst>
              </a:custGeom>
              <a:grpFill/>
              <a:ln w="9473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35" name="Freihandform: Form 34">
                <a:extLst>
                  <a:ext uri="{FF2B5EF4-FFF2-40B4-BE49-F238E27FC236}">
                    <a16:creationId xmlns:a16="http://schemas.microsoft.com/office/drawing/2014/main" id="{56419E73-67B5-4D65-A611-F48F3FF9BCB6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4235362" y="-1102398"/>
                <a:ext cx="85314" cy="758346"/>
              </a:xfrm>
              <a:custGeom>
                <a:avLst/>
                <a:gdLst>
                  <a:gd name="connsiteX0" fmla="*/ 0 w 85313"/>
                  <a:gd name="connsiteY0" fmla="*/ 766877 h 758345"/>
                  <a:gd name="connsiteX1" fmla="*/ 0 w 85313"/>
                  <a:gd name="connsiteY1" fmla="*/ 0 h 758345"/>
                  <a:gd name="connsiteX2" fmla="*/ 89106 w 85313"/>
                  <a:gd name="connsiteY2" fmla="*/ 0 h 758345"/>
                  <a:gd name="connsiteX3" fmla="*/ 89106 w 85313"/>
                  <a:gd name="connsiteY3" fmla="*/ 766877 h 758345"/>
                  <a:gd name="connsiteX4" fmla="*/ 0 w 85313"/>
                  <a:gd name="connsiteY4" fmla="*/ 766877 h 7583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313" h="758345">
                    <a:moveTo>
                      <a:pt x="0" y="766877"/>
                    </a:moveTo>
                    <a:lnTo>
                      <a:pt x="0" y="0"/>
                    </a:lnTo>
                    <a:lnTo>
                      <a:pt x="89106" y="0"/>
                    </a:lnTo>
                    <a:lnTo>
                      <a:pt x="89106" y="766877"/>
                    </a:lnTo>
                    <a:lnTo>
                      <a:pt x="0" y="766877"/>
                    </a:lnTo>
                    <a:close/>
                  </a:path>
                </a:pathLst>
              </a:custGeom>
              <a:grpFill/>
              <a:ln w="9473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36" name="Freihandform: Form 35">
                <a:extLst>
                  <a:ext uri="{FF2B5EF4-FFF2-40B4-BE49-F238E27FC236}">
                    <a16:creationId xmlns:a16="http://schemas.microsoft.com/office/drawing/2014/main" id="{DEB903CE-91A5-4968-8FCA-97899179B7C6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4459074" y="-1102398"/>
                <a:ext cx="502404" cy="758346"/>
              </a:xfrm>
              <a:custGeom>
                <a:avLst/>
                <a:gdLst>
                  <a:gd name="connsiteX0" fmla="*/ 501456 w 502404"/>
                  <a:gd name="connsiteY0" fmla="*/ 76783 h 758345"/>
                  <a:gd name="connsiteX1" fmla="*/ 293859 w 502404"/>
                  <a:gd name="connsiteY1" fmla="*/ 76783 h 758345"/>
                  <a:gd name="connsiteX2" fmla="*/ 293859 w 502404"/>
                  <a:gd name="connsiteY2" fmla="*/ 766877 h 758345"/>
                  <a:gd name="connsiteX3" fmla="*/ 205701 w 502404"/>
                  <a:gd name="connsiteY3" fmla="*/ 766877 h 758345"/>
                  <a:gd name="connsiteX4" fmla="*/ 205701 w 502404"/>
                  <a:gd name="connsiteY4" fmla="*/ 76783 h 758345"/>
                  <a:gd name="connsiteX5" fmla="*/ 0 w 502404"/>
                  <a:gd name="connsiteY5" fmla="*/ 76783 h 758345"/>
                  <a:gd name="connsiteX6" fmla="*/ 0 w 502404"/>
                  <a:gd name="connsiteY6" fmla="*/ 0 h 758345"/>
                  <a:gd name="connsiteX7" fmla="*/ 507144 w 502404"/>
                  <a:gd name="connsiteY7" fmla="*/ 0 h 758345"/>
                  <a:gd name="connsiteX8" fmla="*/ 501456 w 502404"/>
                  <a:gd name="connsiteY8" fmla="*/ 76783 h 7583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2404" h="758345">
                    <a:moveTo>
                      <a:pt x="501456" y="76783"/>
                    </a:moveTo>
                    <a:lnTo>
                      <a:pt x="293859" y="76783"/>
                    </a:lnTo>
                    <a:lnTo>
                      <a:pt x="293859" y="766877"/>
                    </a:lnTo>
                    <a:lnTo>
                      <a:pt x="205701" y="766877"/>
                    </a:lnTo>
                    <a:lnTo>
                      <a:pt x="205701" y="76783"/>
                    </a:lnTo>
                    <a:lnTo>
                      <a:pt x="0" y="76783"/>
                    </a:lnTo>
                    <a:lnTo>
                      <a:pt x="0" y="0"/>
                    </a:lnTo>
                    <a:lnTo>
                      <a:pt x="507144" y="0"/>
                    </a:lnTo>
                    <a:lnTo>
                      <a:pt x="501456" y="76783"/>
                    </a:lnTo>
                    <a:close/>
                  </a:path>
                </a:pathLst>
              </a:custGeom>
              <a:grpFill/>
              <a:ln w="9473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37" name="Freihandform: Form 36">
                <a:extLst>
                  <a:ext uri="{FF2B5EF4-FFF2-40B4-BE49-F238E27FC236}">
                    <a16:creationId xmlns:a16="http://schemas.microsoft.com/office/drawing/2014/main" id="{3A3EDF01-B9B1-424D-A2FB-54E76121C62C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4920717" y="-1266391"/>
                <a:ext cx="625636" cy="928974"/>
              </a:xfrm>
              <a:custGeom>
                <a:avLst/>
                <a:gdLst>
                  <a:gd name="connsiteX0" fmla="*/ 526103 w 625635"/>
                  <a:gd name="connsiteY0" fmla="*/ 930870 h 928973"/>
                  <a:gd name="connsiteX1" fmla="*/ 453112 w 625635"/>
                  <a:gd name="connsiteY1" fmla="*/ 694834 h 928973"/>
                  <a:gd name="connsiteX2" fmla="*/ 166836 w 625635"/>
                  <a:gd name="connsiteY2" fmla="*/ 694834 h 928973"/>
                  <a:gd name="connsiteX3" fmla="*/ 92898 w 625635"/>
                  <a:gd name="connsiteY3" fmla="*/ 930870 h 928973"/>
                  <a:gd name="connsiteX4" fmla="*/ 0 w 625635"/>
                  <a:gd name="connsiteY4" fmla="*/ 930870 h 928973"/>
                  <a:gd name="connsiteX5" fmla="*/ 255942 w 625635"/>
                  <a:gd name="connsiteY5" fmla="*/ 163992 h 928973"/>
                  <a:gd name="connsiteX6" fmla="*/ 375382 w 625635"/>
                  <a:gd name="connsiteY6" fmla="*/ 163992 h 928973"/>
                  <a:gd name="connsiteX7" fmla="*/ 629427 w 625635"/>
                  <a:gd name="connsiteY7" fmla="*/ 930870 h 928973"/>
                  <a:gd name="connsiteX8" fmla="*/ 526103 w 625635"/>
                  <a:gd name="connsiteY8" fmla="*/ 930870 h 928973"/>
                  <a:gd name="connsiteX9" fmla="*/ 201910 w 625635"/>
                  <a:gd name="connsiteY9" fmla="*/ 116596 h 928973"/>
                  <a:gd name="connsiteX10" fmla="*/ 144086 w 625635"/>
                  <a:gd name="connsiteY10" fmla="*/ 56876 h 928973"/>
                  <a:gd name="connsiteX11" fmla="*/ 200962 w 625635"/>
                  <a:gd name="connsiteY11" fmla="*/ 0 h 928973"/>
                  <a:gd name="connsiteX12" fmla="*/ 258786 w 625635"/>
                  <a:gd name="connsiteY12" fmla="*/ 56876 h 928973"/>
                  <a:gd name="connsiteX13" fmla="*/ 201910 w 625635"/>
                  <a:gd name="connsiteY13" fmla="*/ 116596 h 928973"/>
                  <a:gd name="connsiteX14" fmla="*/ 312818 w 625635"/>
                  <a:gd name="connsiteY14" fmla="*/ 244567 h 928973"/>
                  <a:gd name="connsiteX15" fmla="*/ 192431 w 625635"/>
                  <a:gd name="connsiteY15" fmla="*/ 619948 h 928973"/>
                  <a:gd name="connsiteX16" fmla="*/ 430362 w 625635"/>
                  <a:gd name="connsiteY16" fmla="*/ 619948 h 928973"/>
                  <a:gd name="connsiteX17" fmla="*/ 312818 w 625635"/>
                  <a:gd name="connsiteY17" fmla="*/ 244567 h 928973"/>
                  <a:gd name="connsiteX18" fmla="*/ 433205 w 625635"/>
                  <a:gd name="connsiteY18" fmla="*/ 116596 h 928973"/>
                  <a:gd name="connsiteX19" fmla="*/ 375382 w 625635"/>
                  <a:gd name="connsiteY19" fmla="*/ 56876 h 928973"/>
                  <a:gd name="connsiteX20" fmla="*/ 432258 w 625635"/>
                  <a:gd name="connsiteY20" fmla="*/ 0 h 928973"/>
                  <a:gd name="connsiteX21" fmla="*/ 490081 w 625635"/>
                  <a:gd name="connsiteY21" fmla="*/ 56876 h 928973"/>
                  <a:gd name="connsiteX22" fmla="*/ 433205 w 625635"/>
                  <a:gd name="connsiteY22" fmla="*/ 116596 h 9289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625635" h="928973">
                    <a:moveTo>
                      <a:pt x="526103" y="930870"/>
                    </a:moveTo>
                    <a:lnTo>
                      <a:pt x="453112" y="694834"/>
                    </a:lnTo>
                    <a:lnTo>
                      <a:pt x="166836" y="694834"/>
                    </a:lnTo>
                    <a:lnTo>
                      <a:pt x="92898" y="930870"/>
                    </a:lnTo>
                    <a:lnTo>
                      <a:pt x="0" y="930870"/>
                    </a:lnTo>
                    <a:lnTo>
                      <a:pt x="255942" y="163992"/>
                    </a:lnTo>
                    <a:lnTo>
                      <a:pt x="375382" y="163992"/>
                    </a:lnTo>
                    <a:lnTo>
                      <a:pt x="629427" y="930870"/>
                    </a:lnTo>
                    <a:lnTo>
                      <a:pt x="526103" y="930870"/>
                    </a:lnTo>
                    <a:close/>
                    <a:moveTo>
                      <a:pt x="201910" y="116596"/>
                    </a:moveTo>
                    <a:cubicBezTo>
                      <a:pt x="169680" y="116596"/>
                      <a:pt x="144086" y="90054"/>
                      <a:pt x="144086" y="56876"/>
                    </a:cubicBezTo>
                    <a:cubicBezTo>
                      <a:pt x="144086" y="25594"/>
                      <a:pt x="169680" y="0"/>
                      <a:pt x="200962" y="0"/>
                    </a:cubicBezTo>
                    <a:cubicBezTo>
                      <a:pt x="233192" y="0"/>
                      <a:pt x="258786" y="25594"/>
                      <a:pt x="258786" y="56876"/>
                    </a:cubicBezTo>
                    <a:cubicBezTo>
                      <a:pt x="258786" y="90054"/>
                      <a:pt x="234139" y="116596"/>
                      <a:pt x="201910" y="116596"/>
                    </a:cubicBezTo>
                    <a:close/>
                    <a:moveTo>
                      <a:pt x="312818" y="244567"/>
                    </a:moveTo>
                    <a:lnTo>
                      <a:pt x="192431" y="619948"/>
                    </a:lnTo>
                    <a:lnTo>
                      <a:pt x="430362" y="619948"/>
                    </a:lnTo>
                    <a:lnTo>
                      <a:pt x="312818" y="244567"/>
                    </a:lnTo>
                    <a:close/>
                    <a:moveTo>
                      <a:pt x="433205" y="116596"/>
                    </a:moveTo>
                    <a:cubicBezTo>
                      <a:pt x="400976" y="116596"/>
                      <a:pt x="375382" y="90054"/>
                      <a:pt x="375382" y="56876"/>
                    </a:cubicBezTo>
                    <a:cubicBezTo>
                      <a:pt x="375382" y="25594"/>
                      <a:pt x="400976" y="0"/>
                      <a:pt x="432258" y="0"/>
                    </a:cubicBezTo>
                    <a:cubicBezTo>
                      <a:pt x="464487" y="0"/>
                      <a:pt x="490081" y="25594"/>
                      <a:pt x="490081" y="56876"/>
                    </a:cubicBezTo>
                    <a:cubicBezTo>
                      <a:pt x="491030" y="90054"/>
                      <a:pt x="466383" y="116596"/>
                      <a:pt x="433205" y="116596"/>
                    </a:cubicBezTo>
                    <a:close/>
                  </a:path>
                </a:pathLst>
              </a:custGeom>
              <a:grpFill/>
              <a:ln w="9473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38" name="Freihandform: Form 37">
                <a:extLst>
                  <a:ext uri="{FF2B5EF4-FFF2-40B4-BE49-F238E27FC236}">
                    <a16:creationId xmlns:a16="http://schemas.microsoft.com/office/drawing/2014/main" id="{DE6ACF3C-AEDE-466B-9C64-45F19F9FCEB7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5517914" y="-1102398"/>
                <a:ext cx="502404" cy="758346"/>
              </a:xfrm>
              <a:custGeom>
                <a:avLst/>
                <a:gdLst>
                  <a:gd name="connsiteX0" fmla="*/ 501457 w 502404"/>
                  <a:gd name="connsiteY0" fmla="*/ 76783 h 758345"/>
                  <a:gd name="connsiteX1" fmla="*/ 293859 w 502404"/>
                  <a:gd name="connsiteY1" fmla="*/ 76783 h 758345"/>
                  <a:gd name="connsiteX2" fmla="*/ 293859 w 502404"/>
                  <a:gd name="connsiteY2" fmla="*/ 766877 h 758345"/>
                  <a:gd name="connsiteX3" fmla="*/ 205701 w 502404"/>
                  <a:gd name="connsiteY3" fmla="*/ 766877 h 758345"/>
                  <a:gd name="connsiteX4" fmla="*/ 205701 w 502404"/>
                  <a:gd name="connsiteY4" fmla="*/ 76783 h 758345"/>
                  <a:gd name="connsiteX5" fmla="*/ 0 w 502404"/>
                  <a:gd name="connsiteY5" fmla="*/ 76783 h 758345"/>
                  <a:gd name="connsiteX6" fmla="*/ 0 w 502404"/>
                  <a:gd name="connsiteY6" fmla="*/ 0 h 758345"/>
                  <a:gd name="connsiteX7" fmla="*/ 507144 w 502404"/>
                  <a:gd name="connsiteY7" fmla="*/ 0 h 758345"/>
                  <a:gd name="connsiteX8" fmla="*/ 501457 w 502404"/>
                  <a:gd name="connsiteY8" fmla="*/ 76783 h 7583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2404" h="758345">
                    <a:moveTo>
                      <a:pt x="501457" y="76783"/>
                    </a:moveTo>
                    <a:lnTo>
                      <a:pt x="293859" y="76783"/>
                    </a:lnTo>
                    <a:lnTo>
                      <a:pt x="293859" y="766877"/>
                    </a:lnTo>
                    <a:lnTo>
                      <a:pt x="205701" y="766877"/>
                    </a:lnTo>
                    <a:lnTo>
                      <a:pt x="205701" y="76783"/>
                    </a:lnTo>
                    <a:lnTo>
                      <a:pt x="0" y="76783"/>
                    </a:lnTo>
                    <a:lnTo>
                      <a:pt x="0" y="0"/>
                    </a:lnTo>
                    <a:lnTo>
                      <a:pt x="507144" y="0"/>
                    </a:lnTo>
                    <a:lnTo>
                      <a:pt x="501457" y="76783"/>
                    </a:lnTo>
                    <a:close/>
                  </a:path>
                </a:pathLst>
              </a:custGeom>
              <a:grpFill/>
              <a:ln w="9473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39" name="Freihandform: Form 38">
                <a:extLst>
                  <a:ext uri="{FF2B5EF4-FFF2-40B4-BE49-F238E27FC236}">
                    <a16:creationId xmlns:a16="http://schemas.microsoft.com/office/drawing/2014/main" id="{776017C8-8363-4FF2-B6B1-A2CBE694C3F5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6461107" y="-1102398"/>
                <a:ext cx="473966" cy="758346"/>
              </a:xfrm>
              <a:custGeom>
                <a:avLst/>
                <a:gdLst>
                  <a:gd name="connsiteX0" fmla="*/ 409507 w 473966"/>
                  <a:gd name="connsiteY0" fmla="*/ 400975 h 758345"/>
                  <a:gd name="connsiteX1" fmla="*/ 223712 w 473966"/>
                  <a:gd name="connsiteY1" fmla="*/ 461643 h 758345"/>
                  <a:gd name="connsiteX2" fmla="*/ 89106 w 473966"/>
                  <a:gd name="connsiteY2" fmla="*/ 461643 h 758345"/>
                  <a:gd name="connsiteX3" fmla="*/ 89106 w 473966"/>
                  <a:gd name="connsiteY3" fmla="*/ 766877 h 758345"/>
                  <a:gd name="connsiteX4" fmla="*/ 0 w 473966"/>
                  <a:gd name="connsiteY4" fmla="*/ 766877 h 758345"/>
                  <a:gd name="connsiteX5" fmla="*/ 0 w 473966"/>
                  <a:gd name="connsiteY5" fmla="*/ 0 h 758345"/>
                  <a:gd name="connsiteX6" fmla="*/ 212337 w 473966"/>
                  <a:gd name="connsiteY6" fmla="*/ 0 h 758345"/>
                  <a:gd name="connsiteX7" fmla="*/ 380121 w 473966"/>
                  <a:gd name="connsiteY7" fmla="*/ 36021 h 758345"/>
                  <a:gd name="connsiteX8" fmla="*/ 478706 w 473966"/>
                  <a:gd name="connsiteY8" fmla="*/ 218972 h 758345"/>
                  <a:gd name="connsiteX9" fmla="*/ 409507 w 473966"/>
                  <a:gd name="connsiteY9" fmla="*/ 400975 h 758345"/>
                  <a:gd name="connsiteX10" fmla="*/ 331776 w 473966"/>
                  <a:gd name="connsiteY10" fmla="*/ 114700 h 758345"/>
                  <a:gd name="connsiteX11" fmla="*/ 186743 w 473966"/>
                  <a:gd name="connsiteY11" fmla="*/ 76783 h 758345"/>
                  <a:gd name="connsiteX12" fmla="*/ 89106 w 473966"/>
                  <a:gd name="connsiteY12" fmla="*/ 76783 h 758345"/>
                  <a:gd name="connsiteX13" fmla="*/ 89106 w 473966"/>
                  <a:gd name="connsiteY13" fmla="*/ 386756 h 758345"/>
                  <a:gd name="connsiteX14" fmla="*/ 218025 w 473966"/>
                  <a:gd name="connsiteY14" fmla="*/ 386756 h 758345"/>
                  <a:gd name="connsiteX15" fmla="*/ 337464 w 473966"/>
                  <a:gd name="connsiteY15" fmla="*/ 345047 h 758345"/>
                  <a:gd name="connsiteX16" fmla="*/ 376329 w 473966"/>
                  <a:gd name="connsiteY16" fmla="*/ 236983 h 758345"/>
                  <a:gd name="connsiteX17" fmla="*/ 331776 w 473966"/>
                  <a:gd name="connsiteY17" fmla="*/ 114700 h 7583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473966" h="758345">
                    <a:moveTo>
                      <a:pt x="409507" y="400975"/>
                    </a:moveTo>
                    <a:cubicBezTo>
                      <a:pt x="358319" y="446476"/>
                      <a:pt x="302391" y="461643"/>
                      <a:pt x="223712" y="461643"/>
                    </a:cubicBezTo>
                    <a:lnTo>
                      <a:pt x="89106" y="461643"/>
                    </a:lnTo>
                    <a:lnTo>
                      <a:pt x="89106" y="766877"/>
                    </a:lnTo>
                    <a:lnTo>
                      <a:pt x="0" y="766877"/>
                    </a:lnTo>
                    <a:lnTo>
                      <a:pt x="0" y="0"/>
                    </a:lnTo>
                    <a:lnTo>
                      <a:pt x="212337" y="0"/>
                    </a:lnTo>
                    <a:cubicBezTo>
                      <a:pt x="294807" y="0"/>
                      <a:pt x="338412" y="8531"/>
                      <a:pt x="380121" y="36021"/>
                    </a:cubicBezTo>
                    <a:cubicBezTo>
                      <a:pt x="444581" y="78678"/>
                      <a:pt x="478706" y="142190"/>
                      <a:pt x="478706" y="218972"/>
                    </a:cubicBezTo>
                    <a:cubicBezTo>
                      <a:pt x="478706" y="296703"/>
                      <a:pt x="459747" y="355475"/>
                      <a:pt x="409507" y="400975"/>
                    </a:cubicBezTo>
                    <a:close/>
                    <a:moveTo>
                      <a:pt x="331776" y="114700"/>
                    </a:moveTo>
                    <a:cubicBezTo>
                      <a:pt x="300495" y="88158"/>
                      <a:pt x="258786" y="76783"/>
                      <a:pt x="186743" y="76783"/>
                    </a:cubicBezTo>
                    <a:lnTo>
                      <a:pt x="89106" y="76783"/>
                    </a:lnTo>
                    <a:lnTo>
                      <a:pt x="89106" y="386756"/>
                    </a:lnTo>
                    <a:lnTo>
                      <a:pt x="218025" y="386756"/>
                    </a:lnTo>
                    <a:cubicBezTo>
                      <a:pt x="282484" y="386756"/>
                      <a:pt x="311870" y="374433"/>
                      <a:pt x="337464" y="345047"/>
                    </a:cubicBezTo>
                    <a:cubicBezTo>
                      <a:pt x="364006" y="314714"/>
                      <a:pt x="376329" y="280588"/>
                      <a:pt x="376329" y="236983"/>
                    </a:cubicBezTo>
                    <a:cubicBezTo>
                      <a:pt x="377278" y="180107"/>
                      <a:pt x="363059" y="142190"/>
                      <a:pt x="331776" y="114700"/>
                    </a:cubicBezTo>
                    <a:close/>
                  </a:path>
                </a:pathLst>
              </a:custGeom>
              <a:grpFill/>
              <a:ln w="9473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40" name="Freihandform: Form 39">
                <a:extLst>
                  <a:ext uri="{FF2B5EF4-FFF2-40B4-BE49-F238E27FC236}">
                    <a16:creationId xmlns:a16="http://schemas.microsoft.com/office/drawing/2014/main" id="{56A851B4-56EC-478C-8273-9ABA2C03DE12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6933178" y="-1102398"/>
                <a:ext cx="625636" cy="758346"/>
              </a:xfrm>
              <a:custGeom>
                <a:avLst/>
                <a:gdLst>
                  <a:gd name="connsiteX0" fmla="*/ 526103 w 625635"/>
                  <a:gd name="connsiteY0" fmla="*/ 766877 h 758345"/>
                  <a:gd name="connsiteX1" fmla="*/ 453112 w 625635"/>
                  <a:gd name="connsiteY1" fmla="*/ 530842 h 758345"/>
                  <a:gd name="connsiteX2" fmla="*/ 166836 w 625635"/>
                  <a:gd name="connsiteY2" fmla="*/ 530842 h 758345"/>
                  <a:gd name="connsiteX3" fmla="*/ 92897 w 625635"/>
                  <a:gd name="connsiteY3" fmla="*/ 766877 h 758345"/>
                  <a:gd name="connsiteX4" fmla="*/ 0 w 625635"/>
                  <a:gd name="connsiteY4" fmla="*/ 766877 h 758345"/>
                  <a:gd name="connsiteX5" fmla="*/ 255942 w 625635"/>
                  <a:gd name="connsiteY5" fmla="*/ 0 h 758345"/>
                  <a:gd name="connsiteX6" fmla="*/ 375381 w 625635"/>
                  <a:gd name="connsiteY6" fmla="*/ 0 h 758345"/>
                  <a:gd name="connsiteX7" fmla="*/ 629427 w 625635"/>
                  <a:gd name="connsiteY7" fmla="*/ 766877 h 758345"/>
                  <a:gd name="connsiteX8" fmla="*/ 526103 w 625635"/>
                  <a:gd name="connsiteY8" fmla="*/ 766877 h 758345"/>
                  <a:gd name="connsiteX9" fmla="*/ 312818 w 625635"/>
                  <a:gd name="connsiteY9" fmla="*/ 80574 h 758345"/>
                  <a:gd name="connsiteX10" fmla="*/ 192430 w 625635"/>
                  <a:gd name="connsiteY10" fmla="*/ 455955 h 758345"/>
                  <a:gd name="connsiteX11" fmla="*/ 430361 w 625635"/>
                  <a:gd name="connsiteY11" fmla="*/ 455955 h 758345"/>
                  <a:gd name="connsiteX12" fmla="*/ 312818 w 625635"/>
                  <a:gd name="connsiteY12" fmla="*/ 80574 h 7583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625635" h="758345">
                    <a:moveTo>
                      <a:pt x="526103" y="766877"/>
                    </a:moveTo>
                    <a:lnTo>
                      <a:pt x="453112" y="530842"/>
                    </a:lnTo>
                    <a:lnTo>
                      <a:pt x="166836" y="530842"/>
                    </a:lnTo>
                    <a:lnTo>
                      <a:pt x="92897" y="766877"/>
                    </a:lnTo>
                    <a:lnTo>
                      <a:pt x="0" y="766877"/>
                    </a:lnTo>
                    <a:lnTo>
                      <a:pt x="255942" y="0"/>
                    </a:lnTo>
                    <a:lnTo>
                      <a:pt x="375381" y="0"/>
                    </a:lnTo>
                    <a:lnTo>
                      <a:pt x="629427" y="766877"/>
                    </a:lnTo>
                    <a:lnTo>
                      <a:pt x="526103" y="766877"/>
                    </a:lnTo>
                    <a:close/>
                    <a:moveTo>
                      <a:pt x="312818" y="80574"/>
                    </a:moveTo>
                    <a:lnTo>
                      <a:pt x="192430" y="455955"/>
                    </a:lnTo>
                    <a:lnTo>
                      <a:pt x="430361" y="455955"/>
                    </a:lnTo>
                    <a:lnTo>
                      <a:pt x="312818" y="80574"/>
                    </a:lnTo>
                    <a:close/>
                  </a:path>
                </a:pathLst>
              </a:custGeom>
              <a:grpFill/>
              <a:ln w="9473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41" name="Freihandform: Form 40">
                <a:extLst>
                  <a:ext uri="{FF2B5EF4-FFF2-40B4-BE49-F238E27FC236}">
                    <a16:creationId xmlns:a16="http://schemas.microsoft.com/office/drawing/2014/main" id="{25D42F7A-D046-4952-8614-CC718D2261DE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7681097" y="-1103346"/>
                <a:ext cx="521363" cy="758346"/>
              </a:xfrm>
              <a:custGeom>
                <a:avLst/>
                <a:gdLst>
                  <a:gd name="connsiteX0" fmla="*/ 441737 w 521362"/>
                  <a:gd name="connsiteY0" fmla="*/ 671136 h 758345"/>
                  <a:gd name="connsiteX1" fmla="*/ 200014 w 521362"/>
                  <a:gd name="connsiteY1" fmla="*/ 766877 h 758345"/>
                  <a:gd name="connsiteX2" fmla="*/ 0 w 521362"/>
                  <a:gd name="connsiteY2" fmla="*/ 766877 h 758345"/>
                  <a:gd name="connsiteX3" fmla="*/ 0 w 521362"/>
                  <a:gd name="connsiteY3" fmla="*/ 0 h 758345"/>
                  <a:gd name="connsiteX4" fmla="*/ 153565 w 521362"/>
                  <a:gd name="connsiteY4" fmla="*/ 0 h 758345"/>
                  <a:gd name="connsiteX5" fmla="*/ 399080 w 521362"/>
                  <a:gd name="connsiteY5" fmla="*/ 59720 h 758345"/>
                  <a:gd name="connsiteX6" fmla="*/ 528946 w 521362"/>
                  <a:gd name="connsiteY6" fmla="*/ 384861 h 758345"/>
                  <a:gd name="connsiteX7" fmla="*/ 441737 w 521362"/>
                  <a:gd name="connsiteY7" fmla="*/ 671136 h 758345"/>
                  <a:gd name="connsiteX8" fmla="*/ 363058 w 521362"/>
                  <a:gd name="connsiteY8" fmla="*/ 145982 h 758345"/>
                  <a:gd name="connsiteX9" fmla="*/ 182951 w 521362"/>
                  <a:gd name="connsiteY9" fmla="*/ 75835 h 758345"/>
                  <a:gd name="connsiteX10" fmla="*/ 91950 w 521362"/>
                  <a:gd name="connsiteY10" fmla="*/ 75835 h 758345"/>
                  <a:gd name="connsiteX11" fmla="*/ 91950 w 521362"/>
                  <a:gd name="connsiteY11" fmla="*/ 691991 h 758345"/>
                  <a:gd name="connsiteX12" fmla="*/ 183899 w 521362"/>
                  <a:gd name="connsiteY12" fmla="*/ 691991 h 758345"/>
                  <a:gd name="connsiteX13" fmla="*/ 378225 w 521362"/>
                  <a:gd name="connsiteY13" fmla="*/ 611416 h 758345"/>
                  <a:gd name="connsiteX14" fmla="*/ 429413 w 521362"/>
                  <a:gd name="connsiteY14" fmla="*/ 397184 h 758345"/>
                  <a:gd name="connsiteX15" fmla="*/ 363058 w 521362"/>
                  <a:gd name="connsiteY15" fmla="*/ 145982 h 7583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21362" h="758345">
                    <a:moveTo>
                      <a:pt x="441737" y="671136"/>
                    </a:moveTo>
                    <a:cubicBezTo>
                      <a:pt x="374433" y="746023"/>
                      <a:pt x="307130" y="766877"/>
                      <a:pt x="200014" y="766877"/>
                    </a:cubicBezTo>
                    <a:lnTo>
                      <a:pt x="0" y="766877"/>
                    </a:lnTo>
                    <a:lnTo>
                      <a:pt x="0" y="0"/>
                    </a:lnTo>
                    <a:lnTo>
                      <a:pt x="153565" y="0"/>
                    </a:lnTo>
                    <a:cubicBezTo>
                      <a:pt x="271109" y="0"/>
                      <a:pt x="324193" y="5688"/>
                      <a:pt x="399080" y="59720"/>
                    </a:cubicBezTo>
                    <a:cubicBezTo>
                      <a:pt x="486289" y="122283"/>
                      <a:pt x="528946" y="235087"/>
                      <a:pt x="528946" y="384861"/>
                    </a:cubicBezTo>
                    <a:cubicBezTo>
                      <a:pt x="528946" y="519467"/>
                      <a:pt x="492925" y="614260"/>
                      <a:pt x="441737" y="671136"/>
                    </a:cubicBezTo>
                    <a:close/>
                    <a:moveTo>
                      <a:pt x="363058" y="145982"/>
                    </a:moveTo>
                    <a:cubicBezTo>
                      <a:pt x="312818" y="86262"/>
                      <a:pt x="263525" y="75835"/>
                      <a:pt x="182951" y="75835"/>
                    </a:cubicBezTo>
                    <a:lnTo>
                      <a:pt x="91950" y="75835"/>
                    </a:lnTo>
                    <a:lnTo>
                      <a:pt x="91950" y="691991"/>
                    </a:lnTo>
                    <a:lnTo>
                      <a:pt x="183899" y="691991"/>
                    </a:lnTo>
                    <a:cubicBezTo>
                      <a:pt x="263525" y="691991"/>
                      <a:pt x="337464" y="683459"/>
                      <a:pt x="378225" y="611416"/>
                    </a:cubicBezTo>
                    <a:cubicBezTo>
                      <a:pt x="413299" y="551697"/>
                      <a:pt x="429413" y="476810"/>
                      <a:pt x="429413" y="397184"/>
                    </a:cubicBezTo>
                    <a:cubicBezTo>
                      <a:pt x="429413" y="281536"/>
                      <a:pt x="414247" y="207597"/>
                      <a:pt x="363058" y="145982"/>
                    </a:cubicBezTo>
                    <a:close/>
                  </a:path>
                </a:pathLst>
              </a:custGeom>
              <a:grpFill/>
              <a:ln w="9473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42" name="Freihandform: Form 41">
                <a:extLst>
                  <a:ext uri="{FF2B5EF4-FFF2-40B4-BE49-F238E27FC236}">
                    <a16:creationId xmlns:a16="http://schemas.microsoft.com/office/drawing/2014/main" id="{636B9DA7-A446-4A5D-9A58-52E4DD508409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8388255" y="-1102398"/>
                <a:ext cx="426570" cy="758346"/>
              </a:xfrm>
              <a:custGeom>
                <a:avLst/>
                <a:gdLst>
                  <a:gd name="connsiteX0" fmla="*/ 0 w 426569"/>
                  <a:gd name="connsiteY0" fmla="*/ 766877 h 758345"/>
                  <a:gd name="connsiteX1" fmla="*/ 0 w 426569"/>
                  <a:gd name="connsiteY1" fmla="*/ 0 h 758345"/>
                  <a:gd name="connsiteX2" fmla="*/ 418986 w 426569"/>
                  <a:gd name="connsiteY2" fmla="*/ 0 h 758345"/>
                  <a:gd name="connsiteX3" fmla="*/ 406663 w 426569"/>
                  <a:gd name="connsiteY3" fmla="*/ 75835 h 758345"/>
                  <a:gd name="connsiteX4" fmla="*/ 92897 w 426569"/>
                  <a:gd name="connsiteY4" fmla="*/ 75835 h 758345"/>
                  <a:gd name="connsiteX5" fmla="*/ 92897 w 426569"/>
                  <a:gd name="connsiteY5" fmla="*/ 327037 h 758345"/>
                  <a:gd name="connsiteX6" fmla="*/ 355475 w 426569"/>
                  <a:gd name="connsiteY6" fmla="*/ 327037 h 758345"/>
                  <a:gd name="connsiteX7" fmla="*/ 355475 w 426569"/>
                  <a:gd name="connsiteY7" fmla="*/ 406663 h 758345"/>
                  <a:gd name="connsiteX8" fmla="*/ 92897 w 426569"/>
                  <a:gd name="connsiteY8" fmla="*/ 406663 h 758345"/>
                  <a:gd name="connsiteX9" fmla="*/ 92897 w 426569"/>
                  <a:gd name="connsiteY9" fmla="*/ 687251 h 758345"/>
                  <a:gd name="connsiteX10" fmla="*/ 430361 w 426569"/>
                  <a:gd name="connsiteY10" fmla="*/ 687251 h 758345"/>
                  <a:gd name="connsiteX11" fmla="*/ 430361 w 426569"/>
                  <a:gd name="connsiteY11" fmla="*/ 766877 h 758345"/>
                  <a:gd name="connsiteX12" fmla="*/ 0 w 426569"/>
                  <a:gd name="connsiteY12" fmla="*/ 766877 h 7583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26569" h="758345">
                    <a:moveTo>
                      <a:pt x="0" y="766877"/>
                    </a:moveTo>
                    <a:lnTo>
                      <a:pt x="0" y="0"/>
                    </a:lnTo>
                    <a:lnTo>
                      <a:pt x="418986" y="0"/>
                    </a:lnTo>
                    <a:lnTo>
                      <a:pt x="406663" y="75835"/>
                    </a:lnTo>
                    <a:lnTo>
                      <a:pt x="92897" y="75835"/>
                    </a:lnTo>
                    <a:lnTo>
                      <a:pt x="92897" y="327037"/>
                    </a:lnTo>
                    <a:lnTo>
                      <a:pt x="355475" y="327037"/>
                    </a:lnTo>
                    <a:lnTo>
                      <a:pt x="355475" y="406663"/>
                    </a:lnTo>
                    <a:lnTo>
                      <a:pt x="92897" y="406663"/>
                    </a:lnTo>
                    <a:lnTo>
                      <a:pt x="92897" y="687251"/>
                    </a:lnTo>
                    <a:lnTo>
                      <a:pt x="430361" y="687251"/>
                    </a:lnTo>
                    <a:lnTo>
                      <a:pt x="430361" y="766877"/>
                    </a:lnTo>
                    <a:lnTo>
                      <a:pt x="0" y="766877"/>
                    </a:lnTo>
                    <a:close/>
                  </a:path>
                </a:pathLst>
              </a:custGeom>
              <a:grpFill/>
              <a:ln w="9473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43" name="Freihandform: Form 42">
                <a:extLst>
                  <a:ext uri="{FF2B5EF4-FFF2-40B4-BE49-F238E27FC236}">
                    <a16:creationId xmlns:a16="http://schemas.microsoft.com/office/drawing/2014/main" id="{9F873D30-5CD8-484A-9557-60FD93D77D3C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8969337" y="-1102398"/>
                <a:ext cx="483446" cy="767825"/>
              </a:xfrm>
              <a:custGeom>
                <a:avLst/>
                <a:gdLst>
                  <a:gd name="connsiteX0" fmla="*/ 372537 w 483445"/>
                  <a:gd name="connsiteY0" fmla="*/ 766877 h 767825"/>
                  <a:gd name="connsiteX1" fmla="*/ 177264 w 483445"/>
                  <a:gd name="connsiteY1" fmla="*/ 469227 h 767825"/>
                  <a:gd name="connsiteX2" fmla="*/ 91950 w 483445"/>
                  <a:gd name="connsiteY2" fmla="*/ 419934 h 767825"/>
                  <a:gd name="connsiteX3" fmla="*/ 91950 w 483445"/>
                  <a:gd name="connsiteY3" fmla="*/ 766877 h 767825"/>
                  <a:gd name="connsiteX4" fmla="*/ 0 w 483445"/>
                  <a:gd name="connsiteY4" fmla="*/ 766877 h 767825"/>
                  <a:gd name="connsiteX5" fmla="*/ 0 w 483445"/>
                  <a:gd name="connsiteY5" fmla="*/ 0 h 767825"/>
                  <a:gd name="connsiteX6" fmla="*/ 179159 w 483445"/>
                  <a:gd name="connsiteY6" fmla="*/ 0 h 767825"/>
                  <a:gd name="connsiteX7" fmla="*/ 372537 w 483445"/>
                  <a:gd name="connsiteY7" fmla="*/ 49292 h 767825"/>
                  <a:gd name="connsiteX8" fmla="*/ 448372 w 483445"/>
                  <a:gd name="connsiteY8" fmla="*/ 210441 h 767825"/>
                  <a:gd name="connsiteX9" fmla="*/ 244566 w 483445"/>
                  <a:gd name="connsiteY9" fmla="*/ 420882 h 767825"/>
                  <a:gd name="connsiteX10" fmla="*/ 233191 w 483445"/>
                  <a:gd name="connsiteY10" fmla="*/ 420882 h 767825"/>
                  <a:gd name="connsiteX11" fmla="*/ 309974 w 483445"/>
                  <a:gd name="connsiteY11" fmla="*/ 507144 h 767825"/>
                  <a:gd name="connsiteX12" fmla="*/ 486289 w 483445"/>
                  <a:gd name="connsiteY12" fmla="*/ 767825 h 767825"/>
                  <a:gd name="connsiteX13" fmla="*/ 372537 w 483445"/>
                  <a:gd name="connsiteY13" fmla="*/ 767825 h 767825"/>
                  <a:gd name="connsiteX14" fmla="*/ 277744 w 483445"/>
                  <a:gd name="connsiteY14" fmla="*/ 92897 h 767825"/>
                  <a:gd name="connsiteX15" fmla="*/ 182003 w 483445"/>
                  <a:gd name="connsiteY15" fmla="*/ 76783 h 767825"/>
                  <a:gd name="connsiteX16" fmla="*/ 93845 w 483445"/>
                  <a:gd name="connsiteY16" fmla="*/ 76783 h 767825"/>
                  <a:gd name="connsiteX17" fmla="*/ 93845 w 483445"/>
                  <a:gd name="connsiteY17" fmla="*/ 363058 h 767825"/>
                  <a:gd name="connsiteX18" fmla="*/ 175368 w 483445"/>
                  <a:gd name="connsiteY18" fmla="*/ 363058 h 767825"/>
                  <a:gd name="connsiteX19" fmla="*/ 313765 w 483445"/>
                  <a:gd name="connsiteY19" fmla="*/ 324193 h 767825"/>
                  <a:gd name="connsiteX20" fmla="*/ 352631 w 483445"/>
                  <a:gd name="connsiteY20" fmla="*/ 209493 h 767825"/>
                  <a:gd name="connsiteX21" fmla="*/ 277744 w 483445"/>
                  <a:gd name="connsiteY21" fmla="*/ 92897 h 767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483445" h="767825">
                    <a:moveTo>
                      <a:pt x="372537" y="766877"/>
                    </a:moveTo>
                    <a:cubicBezTo>
                      <a:pt x="349787" y="716637"/>
                      <a:pt x="278692" y="599093"/>
                      <a:pt x="177264" y="469227"/>
                    </a:cubicBezTo>
                    <a:cubicBezTo>
                      <a:pt x="146930" y="431309"/>
                      <a:pt x="129867" y="420882"/>
                      <a:pt x="91950" y="419934"/>
                    </a:cubicBezTo>
                    <a:lnTo>
                      <a:pt x="91950" y="766877"/>
                    </a:lnTo>
                    <a:lnTo>
                      <a:pt x="0" y="766877"/>
                    </a:lnTo>
                    <a:lnTo>
                      <a:pt x="0" y="0"/>
                    </a:lnTo>
                    <a:lnTo>
                      <a:pt x="179159" y="0"/>
                    </a:lnTo>
                    <a:cubicBezTo>
                      <a:pt x="284380" y="0"/>
                      <a:pt x="335568" y="18959"/>
                      <a:pt x="372537" y="49292"/>
                    </a:cubicBezTo>
                    <a:cubicBezTo>
                      <a:pt x="407611" y="76783"/>
                      <a:pt x="448372" y="128919"/>
                      <a:pt x="448372" y="210441"/>
                    </a:cubicBezTo>
                    <a:cubicBezTo>
                      <a:pt x="448372" y="336516"/>
                      <a:pt x="366850" y="420882"/>
                      <a:pt x="244566" y="420882"/>
                    </a:cubicBezTo>
                    <a:lnTo>
                      <a:pt x="233191" y="420882"/>
                    </a:lnTo>
                    <a:cubicBezTo>
                      <a:pt x="269213" y="450268"/>
                      <a:pt x="294807" y="485341"/>
                      <a:pt x="309974" y="507144"/>
                    </a:cubicBezTo>
                    <a:cubicBezTo>
                      <a:pt x="342203" y="550749"/>
                      <a:pt x="486289" y="767825"/>
                      <a:pt x="486289" y="767825"/>
                    </a:cubicBezTo>
                    <a:lnTo>
                      <a:pt x="372537" y="767825"/>
                    </a:lnTo>
                    <a:close/>
                    <a:moveTo>
                      <a:pt x="277744" y="92897"/>
                    </a:moveTo>
                    <a:cubicBezTo>
                      <a:pt x="253098" y="82470"/>
                      <a:pt x="222764" y="76783"/>
                      <a:pt x="182003" y="76783"/>
                    </a:cubicBezTo>
                    <a:lnTo>
                      <a:pt x="93845" y="76783"/>
                    </a:lnTo>
                    <a:lnTo>
                      <a:pt x="93845" y="363058"/>
                    </a:lnTo>
                    <a:lnTo>
                      <a:pt x="175368" y="363058"/>
                    </a:lnTo>
                    <a:cubicBezTo>
                      <a:pt x="243619" y="363058"/>
                      <a:pt x="285327" y="350735"/>
                      <a:pt x="313765" y="324193"/>
                    </a:cubicBezTo>
                    <a:cubicBezTo>
                      <a:pt x="339360" y="300495"/>
                      <a:pt x="352631" y="259733"/>
                      <a:pt x="352631" y="209493"/>
                    </a:cubicBezTo>
                    <a:cubicBezTo>
                      <a:pt x="352631" y="158305"/>
                      <a:pt x="321349" y="110908"/>
                      <a:pt x="277744" y="92897"/>
                    </a:cubicBezTo>
                    <a:close/>
                  </a:path>
                </a:pathLst>
              </a:custGeom>
              <a:grpFill/>
              <a:ln w="9473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44" name="Freihandform: Form 43">
                <a:extLst>
                  <a:ext uri="{FF2B5EF4-FFF2-40B4-BE49-F238E27FC236}">
                    <a16:creationId xmlns:a16="http://schemas.microsoft.com/office/drawing/2014/main" id="{E7C99557-D278-4B55-BEE4-954B9A9EF169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9591181" y="-1102398"/>
                <a:ext cx="502404" cy="758346"/>
              </a:xfrm>
              <a:custGeom>
                <a:avLst/>
                <a:gdLst>
                  <a:gd name="connsiteX0" fmla="*/ 382964 w 502404"/>
                  <a:gd name="connsiteY0" fmla="*/ 744127 h 758345"/>
                  <a:gd name="connsiteX1" fmla="*/ 198118 w 502404"/>
                  <a:gd name="connsiteY1" fmla="*/ 766877 h 758345"/>
                  <a:gd name="connsiteX2" fmla="*/ 0 w 502404"/>
                  <a:gd name="connsiteY2" fmla="*/ 766877 h 758345"/>
                  <a:gd name="connsiteX3" fmla="*/ 0 w 502404"/>
                  <a:gd name="connsiteY3" fmla="*/ 0 h 758345"/>
                  <a:gd name="connsiteX4" fmla="*/ 110908 w 502404"/>
                  <a:gd name="connsiteY4" fmla="*/ 0 h 758345"/>
                  <a:gd name="connsiteX5" fmla="*/ 339360 w 502404"/>
                  <a:gd name="connsiteY5" fmla="*/ 17063 h 758345"/>
                  <a:gd name="connsiteX6" fmla="*/ 470175 w 502404"/>
                  <a:gd name="connsiteY6" fmla="*/ 192430 h 758345"/>
                  <a:gd name="connsiteX7" fmla="*/ 332725 w 502404"/>
                  <a:gd name="connsiteY7" fmla="*/ 360214 h 758345"/>
                  <a:gd name="connsiteX8" fmla="*/ 433205 w 502404"/>
                  <a:gd name="connsiteY8" fmla="*/ 400027 h 758345"/>
                  <a:gd name="connsiteX9" fmla="*/ 502405 w 502404"/>
                  <a:gd name="connsiteY9" fmla="*/ 556436 h 758345"/>
                  <a:gd name="connsiteX10" fmla="*/ 382964 w 502404"/>
                  <a:gd name="connsiteY10" fmla="*/ 744127 h 758345"/>
                  <a:gd name="connsiteX11" fmla="*/ 281536 w 502404"/>
                  <a:gd name="connsiteY11" fmla="*/ 83418 h 758345"/>
                  <a:gd name="connsiteX12" fmla="*/ 198118 w 502404"/>
                  <a:gd name="connsiteY12" fmla="*/ 76783 h 758345"/>
                  <a:gd name="connsiteX13" fmla="*/ 90054 w 502404"/>
                  <a:gd name="connsiteY13" fmla="*/ 76783 h 758345"/>
                  <a:gd name="connsiteX14" fmla="*/ 90054 w 502404"/>
                  <a:gd name="connsiteY14" fmla="*/ 329880 h 758345"/>
                  <a:gd name="connsiteX15" fmla="*/ 222765 w 502404"/>
                  <a:gd name="connsiteY15" fmla="*/ 329880 h 758345"/>
                  <a:gd name="connsiteX16" fmla="*/ 357371 w 502404"/>
                  <a:gd name="connsiteY16" fmla="*/ 263525 h 758345"/>
                  <a:gd name="connsiteX17" fmla="*/ 369694 w 502404"/>
                  <a:gd name="connsiteY17" fmla="*/ 203805 h 758345"/>
                  <a:gd name="connsiteX18" fmla="*/ 281536 w 502404"/>
                  <a:gd name="connsiteY18" fmla="*/ 83418 h 758345"/>
                  <a:gd name="connsiteX19" fmla="*/ 313766 w 502404"/>
                  <a:gd name="connsiteY19" fmla="*/ 413298 h 758345"/>
                  <a:gd name="connsiteX20" fmla="*/ 224660 w 502404"/>
                  <a:gd name="connsiteY20" fmla="*/ 405715 h 758345"/>
                  <a:gd name="connsiteX21" fmla="*/ 89106 w 502404"/>
                  <a:gd name="connsiteY21" fmla="*/ 405715 h 758345"/>
                  <a:gd name="connsiteX22" fmla="*/ 89106 w 502404"/>
                  <a:gd name="connsiteY22" fmla="*/ 691991 h 758345"/>
                  <a:gd name="connsiteX23" fmla="*/ 252150 w 502404"/>
                  <a:gd name="connsiteY23" fmla="*/ 691991 h 758345"/>
                  <a:gd name="connsiteX24" fmla="*/ 406663 w 502404"/>
                  <a:gd name="connsiteY24" fmla="*/ 548853 h 758345"/>
                  <a:gd name="connsiteX25" fmla="*/ 313766 w 502404"/>
                  <a:gd name="connsiteY25" fmla="*/ 413298 h 7583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502404" h="758345">
                    <a:moveTo>
                      <a:pt x="382964" y="744127"/>
                    </a:moveTo>
                    <a:cubicBezTo>
                      <a:pt x="341256" y="760242"/>
                      <a:pt x="312818" y="766877"/>
                      <a:pt x="198118" y="766877"/>
                    </a:cubicBezTo>
                    <a:lnTo>
                      <a:pt x="0" y="766877"/>
                    </a:lnTo>
                    <a:lnTo>
                      <a:pt x="0" y="0"/>
                    </a:lnTo>
                    <a:lnTo>
                      <a:pt x="110908" y="0"/>
                    </a:lnTo>
                    <a:cubicBezTo>
                      <a:pt x="262577" y="0"/>
                      <a:pt x="299547" y="3792"/>
                      <a:pt x="339360" y="17063"/>
                    </a:cubicBezTo>
                    <a:cubicBezTo>
                      <a:pt x="418039" y="43605"/>
                      <a:pt x="470175" y="114700"/>
                      <a:pt x="470175" y="192430"/>
                    </a:cubicBezTo>
                    <a:cubicBezTo>
                      <a:pt x="470175" y="272057"/>
                      <a:pt x="419934" y="331776"/>
                      <a:pt x="332725" y="360214"/>
                    </a:cubicBezTo>
                    <a:cubicBezTo>
                      <a:pt x="380121" y="368746"/>
                      <a:pt x="407612" y="380121"/>
                      <a:pt x="433205" y="400027"/>
                    </a:cubicBezTo>
                    <a:cubicBezTo>
                      <a:pt x="483446" y="437945"/>
                      <a:pt x="502405" y="500508"/>
                      <a:pt x="502405" y="556436"/>
                    </a:cubicBezTo>
                    <a:cubicBezTo>
                      <a:pt x="502405" y="640802"/>
                      <a:pt x="457851" y="715689"/>
                      <a:pt x="382964" y="744127"/>
                    </a:cubicBezTo>
                    <a:close/>
                    <a:moveTo>
                      <a:pt x="281536" y="83418"/>
                    </a:moveTo>
                    <a:cubicBezTo>
                      <a:pt x="260682" y="77730"/>
                      <a:pt x="236984" y="76783"/>
                      <a:pt x="198118" y="76783"/>
                    </a:cubicBezTo>
                    <a:lnTo>
                      <a:pt x="90054" y="76783"/>
                    </a:lnTo>
                    <a:lnTo>
                      <a:pt x="90054" y="329880"/>
                    </a:lnTo>
                    <a:lnTo>
                      <a:pt x="222765" y="329880"/>
                    </a:lnTo>
                    <a:cubicBezTo>
                      <a:pt x="305234" y="329880"/>
                      <a:pt x="334620" y="315662"/>
                      <a:pt x="357371" y="263525"/>
                    </a:cubicBezTo>
                    <a:cubicBezTo>
                      <a:pt x="364955" y="245514"/>
                      <a:pt x="369694" y="225608"/>
                      <a:pt x="369694" y="203805"/>
                    </a:cubicBezTo>
                    <a:cubicBezTo>
                      <a:pt x="368745" y="144086"/>
                      <a:pt x="333672" y="96689"/>
                      <a:pt x="281536" y="83418"/>
                    </a:cubicBezTo>
                    <a:close/>
                    <a:moveTo>
                      <a:pt x="313766" y="413298"/>
                    </a:moveTo>
                    <a:cubicBezTo>
                      <a:pt x="292911" y="408559"/>
                      <a:pt x="262577" y="405715"/>
                      <a:pt x="224660" y="405715"/>
                    </a:cubicBezTo>
                    <a:lnTo>
                      <a:pt x="89106" y="405715"/>
                    </a:lnTo>
                    <a:lnTo>
                      <a:pt x="89106" y="691991"/>
                    </a:lnTo>
                    <a:lnTo>
                      <a:pt x="252150" y="691991"/>
                    </a:lnTo>
                    <a:cubicBezTo>
                      <a:pt x="364955" y="691991"/>
                      <a:pt x="406663" y="640802"/>
                      <a:pt x="406663" y="548853"/>
                    </a:cubicBezTo>
                    <a:cubicBezTo>
                      <a:pt x="406663" y="481550"/>
                      <a:pt x="368745" y="424674"/>
                      <a:pt x="313766" y="413298"/>
                    </a:cubicBezTo>
                    <a:close/>
                  </a:path>
                </a:pathLst>
              </a:custGeom>
              <a:grpFill/>
              <a:ln w="9473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45" name="Freihandform: Form 44">
                <a:extLst>
                  <a:ext uri="{FF2B5EF4-FFF2-40B4-BE49-F238E27FC236}">
                    <a16:creationId xmlns:a16="http://schemas.microsoft.com/office/drawing/2014/main" id="{1EFD4F9D-A6D8-4F2B-A8DD-225A3508DD1C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10238619" y="-1116617"/>
                <a:ext cx="616156" cy="786784"/>
              </a:xfrm>
              <a:custGeom>
                <a:avLst/>
                <a:gdLst>
                  <a:gd name="connsiteX0" fmla="*/ 504301 w 616156"/>
                  <a:gd name="connsiteY0" fmla="*/ 721376 h 786783"/>
                  <a:gd name="connsiteX1" fmla="*/ 309975 w 616156"/>
                  <a:gd name="connsiteY1" fmla="*/ 795315 h 786783"/>
                  <a:gd name="connsiteX2" fmla="*/ 91950 w 616156"/>
                  <a:gd name="connsiteY2" fmla="*/ 697678 h 786783"/>
                  <a:gd name="connsiteX3" fmla="*/ 0 w 616156"/>
                  <a:gd name="connsiteY3" fmla="*/ 393392 h 786783"/>
                  <a:gd name="connsiteX4" fmla="*/ 305235 w 616156"/>
                  <a:gd name="connsiteY4" fmla="*/ 0 h 786783"/>
                  <a:gd name="connsiteX5" fmla="*/ 546958 w 616156"/>
                  <a:gd name="connsiteY5" fmla="*/ 125127 h 786783"/>
                  <a:gd name="connsiteX6" fmla="*/ 616156 w 616156"/>
                  <a:gd name="connsiteY6" fmla="*/ 409507 h 786783"/>
                  <a:gd name="connsiteX7" fmla="*/ 504301 w 616156"/>
                  <a:gd name="connsiteY7" fmla="*/ 721376 h 786783"/>
                  <a:gd name="connsiteX8" fmla="*/ 476811 w 616156"/>
                  <a:gd name="connsiteY8" fmla="*/ 179159 h 786783"/>
                  <a:gd name="connsiteX9" fmla="*/ 306183 w 616156"/>
                  <a:gd name="connsiteY9" fmla="*/ 73939 h 786783"/>
                  <a:gd name="connsiteX10" fmla="*/ 142190 w 616156"/>
                  <a:gd name="connsiteY10" fmla="*/ 163044 h 786783"/>
                  <a:gd name="connsiteX11" fmla="*/ 103325 w 616156"/>
                  <a:gd name="connsiteY11" fmla="*/ 374433 h 786783"/>
                  <a:gd name="connsiteX12" fmla="*/ 152617 w 616156"/>
                  <a:gd name="connsiteY12" fmla="*/ 641750 h 786783"/>
                  <a:gd name="connsiteX13" fmla="*/ 315662 w 616156"/>
                  <a:gd name="connsiteY13" fmla="*/ 724220 h 786783"/>
                  <a:gd name="connsiteX14" fmla="*/ 458800 w 616156"/>
                  <a:gd name="connsiteY14" fmla="*/ 657865 h 786783"/>
                  <a:gd name="connsiteX15" fmla="*/ 514728 w 616156"/>
                  <a:gd name="connsiteY15" fmla="*/ 421830 h 786783"/>
                  <a:gd name="connsiteX16" fmla="*/ 476811 w 616156"/>
                  <a:gd name="connsiteY16" fmla="*/ 179159 h 7867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616156" h="786783">
                    <a:moveTo>
                      <a:pt x="504301" y="721376"/>
                    </a:moveTo>
                    <a:cubicBezTo>
                      <a:pt x="447425" y="772565"/>
                      <a:pt x="388652" y="795315"/>
                      <a:pt x="309975" y="795315"/>
                    </a:cubicBezTo>
                    <a:cubicBezTo>
                      <a:pt x="216129" y="795315"/>
                      <a:pt x="143138" y="757398"/>
                      <a:pt x="91950" y="697678"/>
                    </a:cubicBezTo>
                    <a:cubicBezTo>
                      <a:pt x="31282" y="628479"/>
                      <a:pt x="0" y="524207"/>
                      <a:pt x="0" y="393392"/>
                    </a:cubicBezTo>
                    <a:cubicBezTo>
                      <a:pt x="0" y="149773"/>
                      <a:pt x="116596" y="0"/>
                      <a:pt x="305235" y="0"/>
                    </a:cubicBezTo>
                    <a:cubicBezTo>
                      <a:pt x="437946" y="0"/>
                      <a:pt x="509988" y="70147"/>
                      <a:pt x="546958" y="125127"/>
                    </a:cubicBezTo>
                    <a:cubicBezTo>
                      <a:pt x="595302" y="196222"/>
                      <a:pt x="616156" y="286276"/>
                      <a:pt x="616156" y="409507"/>
                    </a:cubicBezTo>
                    <a:cubicBezTo>
                      <a:pt x="616156" y="557384"/>
                      <a:pt x="582979" y="650282"/>
                      <a:pt x="504301" y="721376"/>
                    </a:cubicBezTo>
                    <a:close/>
                    <a:moveTo>
                      <a:pt x="476811" y="179159"/>
                    </a:moveTo>
                    <a:cubicBezTo>
                      <a:pt x="450268" y="122283"/>
                      <a:pt x="394340" y="73939"/>
                      <a:pt x="306183" y="73939"/>
                    </a:cubicBezTo>
                    <a:cubicBezTo>
                      <a:pt x="235088" y="73939"/>
                      <a:pt x="170628" y="109012"/>
                      <a:pt x="142190" y="163044"/>
                    </a:cubicBezTo>
                    <a:cubicBezTo>
                      <a:pt x="115648" y="213285"/>
                      <a:pt x="103325" y="279640"/>
                      <a:pt x="103325" y="374433"/>
                    </a:cubicBezTo>
                    <a:cubicBezTo>
                      <a:pt x="103325" y="489133"/>
                      <a:pt x="122284" y="590562"/>
                      <a:pt x="152617" y="641750"/>
                    </a:cubicBezTo>
                    <a:cubicBezTo>
                      <a:pt x="182004" y="691043"/>
                      <a:pt x="253099" y="724220"/>
                      <a:pt x="315662" y="724220"/>
                    </a:cubicBezTo>
                    <a:cubicBezTo>
                      <a:pt x="378225" y="724220"/>
                      <a:pt x="423727" y="701470"/>
                      <a:pt x="458800" y="657865"/>
                    </a:cubicBezTo>
                    <a:cubicBezTo>
                      <a:pt x="496717" y="609521"/>
                      <a:pt x="514728" y="547905"/>
                      <a:pt x="514728" y="421830"/>
                    </a:cubicBezTo>
                    <a:cubicBezTo>
                      <a:pt x="513780" y="309974"/>
                      <a:pt x="502404" y="233191"/>
                      <a:pt x="476811" y="179159"/>
                    </a:cubicBezTo>
                    <a:close/>
                  </a:path>
                </a:pathLst>
              </a:custGeom>
              <a:grpFill/>
              <a:ln w="9473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46" name="Freihandform: Form 45">
                <a:extLst>
                  <a:ext uri="{FF2B5EF4-FFF2-40B4-BE49-F238E27FC236}">
                    <a16:creationId xmlns:a16="http://schemas.microsoft.com/office/drawing/2014/main" id="{2C968163-C1FF-4BB4-AD40-B7556A77F26F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11033934" y="-1102398"/>
                <a:ext cx="483446" cy="767825"/>
              </a:xfrm>
              <a:custGeom>
                <a:avLst/>
                <a:gdLst>
                  <a:gd name="connsiteX0" fmla="*/ 372538 w 483445"/>
                  <a:gd name="connsiteY0" fmla="*/ 766877 h 767825"/>
                  <a:gd name="connsiteX1" fmla="*/ 177263 w 483445"/>
                  <a:gd name="connsiteY1" fmla="*/ 469227 h 767825"/>
                  <a:gd name="connsiteX2" fmla="*/ 91949 w 483445"/>
                  <a:gd name="connsiteY2" fmla="*/ 419934 h 767825"/>
                  <a:gd name="connsiteX3" fmla="*/ 91949 w 483445"/>
                  <a:gd name="connsiteY3" fmla="*/ 766877 h 767825"/>
                  <a:gd name="connsiteX4" fmla="*/ 0 w 483445"/>
                  <a:gd name="connsiteY4" fmla="*/ 766877 h 767825"/>
                  <a:gd name="connsiteX5" fmla="*/ 0 w 483445"/>
                  <a:gd name="connsiteY5" fmla="*/ 0 h 767825"/>
                  <a:gd name="connsiteX6" fmla="*/ 179159 w 483445"/>
                  <a:gd name="connsiteY6" fmla="*/ 0 h 767825"/>
                  <a:gd name="connsiteX7" fmla="*/ 372538 w 483445"/>
                  <a:gd name="connsiteY7" fmla="*/ 49292 h 767825"/>
                  <a:gd name="connsiteX8" fmla="*/ 448373 w 483445"/>
                  <a:gd name="connsiteY8" fmla="*/ 210441 h 767825"/>
                  <a:gd name="connsiteX9" fmla="*/ 244567 w 483445"/>
                  <a:gd name="connsiteY9" fmla="*/ 420882 h 767825"/>
                  <a:gd name="connsiteX10" fmla="*/ 233191 w 483445"/>
                  <a:gd name="connsiteY10" fmla="*/ 420882 h 767825"/>
                  <a:gd name="connsiteX11" fmla="*/ 309974 w 483445"/>
                  <a:gd name="connsiteY11" fmla="*/ 507144 h 767825"/>
                  <a:gd name="connsiteX12" fmla="*/ 486290 w 483445"/>
                  <a:gd name="connsiteY12" fmla="*/ 767825 h 767825"/>
                  <a:gd name="connsiteX13" fmla="*/ 372538 w 483445"/>
                  <a:gd name="connsiteY13" fmla="*/ 767825 h 767825"/>
                  <a:gd name="connsiteX14" fmla="*/ 277745 w 483445"/>
                  <a:gd name="connsiteY14" fmla="*/ 92897 h 767825"/>
                  <a:gd name="connsiteX15" fmla="*/ 182003 w 483445"/>
                  <a:gd name="connsiteY15" fmla="*/ 76783 h 767825"/>
                  <a:gd name="connsiteX16" fmla="*/ 93846 w 483445"/>
                  <a:gd name="connsiteY16" fmla="*/ 76783 h 767825"/>
                  <a:gd name="connsiteX17" fmla="*/ 93846 w 483445"/>
                  <a:gd name="connsiteY17" fmla="*/ 363058 h 767825"/>
                  <a:gd name="connsiteX18" fmla="*/ 175368 w 483445"/>
                  <a:gd name="connsiteY18" fmla="*/ 363058 h 767825"/>
                  <a:gd name="connsiteX19" fmla="*/ 313765 w 483445"/>
                  <a:gd name="connsiteY19" fmla="*/ 324193 h 767825"/>
                  <a:gd name="connsiteX20" fmla="*/ 352630 w 483445"/>
                  <a:gd name="connsiteY20" fmla="*/ 209493 h 767825"/>
                  <a:gd name="connsiteX21" fmla="*/ 277745 w 483445"/>
                  <a:gd name="connsiteY21" fmla="*/ 92897 h 767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483445" h="767825">
                    <a:moveTo>
                      <a:pt x="372538" y="766877"/>
                    </a:moveTo>
                    <a:cubicBezTo>
                      <a:pt x="349787" y="716637"/>
                      <a:pt x="278692" y="599093"/>
                      <a:pt x="177263" y="469227"/>
                    </a:cubicBezTo>
                    <a:cubicBezTo>
                      <a:pt x="146930" y="431309"/>
                      <a:pt x="129866" y="420882"/>
                      <a:pt x="91949" y="419934"/>
                    </a:cubicBezTo>
                    <a:lnTo>
                      <a:pt x="91949" y="766877"/>
                    </a:lnTo>
                    <a:lnTo>
                      <a:pt x="0" y="766877"/>
                    </a:lnTo>
                    <a:lnTo>
                      <a:pt x="0" y="0"/>
                    </a:lnTo>
                    <a:lnTo>
                      <a:pt x="179159" y="0"/>
                    </a:lnTo>
                    <a:cubicBezTo>
                      <a:pt x="284380" y="0"/>
                      <a:pt x="335568" y="18959"/>
                      <a:pt x="372538" y="49292"/>
                    </a:cubicBezTo>
                    <a:cubicBezTo>
                      <a:pt x="407611" y="76783"/>
                      <a:pt x="448373" y="128919"/>
                      <a:pt x="448373" y="210441"/>
                    </a:cubicBezTo>
                    <a:cubicBezTo>
                      <a:pt x="448373" y="336516"/>
                      <a:pt x="366849" y="420882"/>
                      <a:pt x="244567" y="420882"/>
                    </a:cubicBezTo>
                    <a:lnTo>
                      <a:pt x="233191" y="420882"/>
                    </a:lnTo>
                    <a:cubicBezTo>
                      <a:pt x="269213" y="450268"/>
                      <a:pt x="294807" y="485341"/>
                      <a:pt x="309974" y="507144"/>
                    </a:cubicBezTo>
                    <a:cubicBezTo>
                      <a:pt x="342203" y="550749"/>
                      <a:pt x="486290" y="767825"/>
                      <a:pt x="486290" y="767825"/>
                    </a:cubicBezTo>
                    <a:lnTo>
                      <a:pt x="372538" y="767825"/>
                    </a:lnTo>
                    <a:close/>
                    <a:moveTo>
                      <a:pt x="277745" y="92897"/>
                    </a:moveTo>
                    <a:cubicBezTo>
                      <a:pt x="253098" y="82470"/>
                      <a:pt x="222764" y="76783"/>
                      <a:pt x="182003" y="76783"/>
                    </a:cubicBezTo>
                    <a:lnTo>
                      <a:pt x="93846" y="76783"/>
                    </a:lnTo>
                    <a:lnTo>
                      <a:pt x="93846" y="363058"/>
                    </a:lnTo>
                    <a:lnTo>
                      <a:pt x="175368" y="363058"/>
                    </a:lnTo>
                    <a:cubicBezTo>
                      <a:pt x="243618" y="363058"/>
                      <a:pt x="285327" y="350735"/>
                      <a:pt x="313765" y="324193"/>
                    </a:cubicBezTo>
                    <a:cubicBezTo>
                      <a:pt x="339360" y="300495"/>
                      <a:pt x="352630" y="259733"/>
                      <a:pt x="352630" y="209493"/>
                    </a:cubicBezTo>
                    <a:cubicBezTo>
                      <a:pt x="352630" y="158305"/>
                      <a:pt x="320402" y="110908"/>
                      <a:pt x="277745" y="92897"/>
                    </a:cubicBezTo>
                    <a:close/>
                  </a:path>
                </a:pathLst>
              </a:custGeom>
              <a:grpFill/>
              <a:ln w="9473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47" name="Freihandform: Form 46">
                <a:extLst>
                  <a:ext uri="{FF2B5EF4-FFF2-40B4-BE49-F238E27FC236}">
                    <a16:creationId xmlns:a16="http://schemas.microsoft.com/office/drawing/2014/main" id="{FFFCB785-03D0-47BF-8477-98D4035D409B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11656725" y="-1102398"/>
                <a:ext cx="502404" cy="758346"/>
              </a:xfrm>
              <a:custGeom>
                <a:avLst/>
                <a:gdLst>
                  <a:gd name="connsiteX0" fmla="*/ 412351 w 502404"/>
                  <a:gd name="connsiteY0" fmla="*/ 766877 h 758345"/>
                  <a:gd name="connsiteX1" fmla="*/ 166837 w 502404"/>
                  <a:gd name="connsiteY1" fmla="*/ 297651 h 758345"/>
                  <a:gd name="connsiteX2" fmla="*/ 79627 w 502404"/>
                  <a:gd name="connsiteY2" fmla="*/ 112804 h 758345"/>
                  <a:gd name="connsiteX3" fmla="*/ 90054 w 502404"/>
                  <a:gd name="connsiteY3" fmla="*/ 322297 h 758345"/>
                  <a:gd name="connsiteX4" fmla="*/ 94793 w 502404"/>
                  <a:gd name="connsiteY4" fmla="*/ 766877 h 758345"/>
                  <a:gd name="connsiteX5" fmla="*/ 0 w 502404"/>
                  <a:gd name="connsiteY5" fmla="*/ 766877 h 758345"/>
                  <a:gd name="connsiteX6" fmla="*/ 0 w 502404"/>
                  <a:gd name="connsiteY6" fmla="*/ 0 h 758345"/>
                  <a:gd name="connsiteX7" fmla="*/ 106169 w 502404"/>
                  <a:gd name="connsiteY7" fmla="*/ 0 h 758345"/>
                  <a:gd name="connsiteX8" fmla="*/ 361163 w 502404"/>
                  <a:gd name="connsiteY8" fmla="*/ 490081 h 758345"/>
                  <a:gd name="connsiteX9" fmla="*/ 432258 w 502404"/>
                  <a:gd name="connsiteY9" fmla="*/ 651230 h 758345"/>
                  <a:gd name="connsiteX10" fmla="*/ 421830 w 502404"/>
                  <a:gd name="connsiteY10" fmla="*/ 417090 h 758345"/>
                  <a:gd name="connsiteX11" fmla="*/ 418039 w 502404"/>
                  <a:gd name="connsiteY11" fmla="*/ 0 h 758345"/>
                  <a:gd name="connsiteX12" fmla="*/ 509041 w 502404"/>
                  <a:gd name="connsiteY12" fmla="*/ 0 h 758345"/>
                  <a:gd name="connsiteX13" fmla="*/ 509041 w 502404"/>
                  <a:gd name="connsiteY13" fmla="*/ 766877 h 758345"/>
                  <a:gd name="connsiteX14" fmla="*/ 412351 w 502404"/>
                  <a:gd name="connsiteY14" fmla="*/ 766877 h 7583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02404" h="758345">
                    <a:moveTo>
                      <a:pt x="412351" y="766877"/>
                    </a:moveTo>
                    <a:lnTo>
                      <a:pt x="166837" y="297651"/>
                    </a:lnTo>
                    <a:cubicBezTo>
                      <a:pt x="117544" y="204753"/>
                      <a:pt x="79627" y="112804"/>
                      <a:pt x="79627" y="112804"/>
                    </a:cubicBezTo>
                    <a:cubicBezTo>
                      <a:pt x="79627" y="112804"/>
                      <a:pt x="88158" y="222764"/>
                      <a:pt x="90054" y="322297"/>
                    </a:cubicBezTo>
                    <a:lnTo>
                      <a:pt x="94793" y="766877"/>
                    </a:lnTo>
                    <a:lnTo>
                      <a:pt x="0" y="766877"/>
                    </a:lnTo>
                    <a:lnTo>
                      <a:pt x="0" y="0"/>
                    </a:lnTo>
                    <a:lnTo>
                      <a:pt x="106169" y="0"/>
                    </a:lnTo>
                    <a:lnTo>
                      <a:pt x="361163" y="490081"/>
                    </a:lnTo>
                    <a:cubicBezTo>
                      <a:pt x="399081" y="563072"/>
                      <a:pt x="429414" y="643646"/>
                      <a:pt x="432258" y="651230"/>
                    </a:cubicBezTo>
                    <a:cubicBezTo>
                      <a:pt x="432258" y="649334"/>
                      <a:pt x="423727" y="527050"/>
                      <a:pt x="421830" y="417090"/>
                    </a:cubicBezTo>
                    <a:lnTo>
                      <a:pt x="418039" y="0"/>
                    </a:lnTo>
                    <a:lnTo>
                      <a:pt x="509041" y="0"/>
                    </a:lnTo>
                    <a:lnTo>
                      <a:pt x="509041" y="766877"/>
                    </a:lnTo>
                    <a:lnTo>
                      <a:pt x="412351" y="766877"/>
                    </a:lnTo>
                    <a:close/>
                  </a:path>
                </a:pathLst>
              </a:custGeom>
              <a:grpFill/>
              <a:ln w="9473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6159226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10" r:id="rId2"/>
    <p:sldLayoutId id="2147483664" r:id="rId3"/>
    <p:sldLayoutId id="2147483669" r:id="rId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spcAft>
          <a:spcPts val="1000"/>
        </a:spcAft>
        <a:buNone/>
        <a:defRPr lang="de-DE" sz="2800" b="1" kern="1200" cap="all" noProof="0" dirty="0">
          <a:solidFill>
            <a:schemeClr val="accent1"/>
          </a:solidFill>
          <a:latin typeface="+mn-lt"/>
          <a:ea typeface="+mn-ea"/>
          <a:cs typeface="+mn-cs"/>
        </a:defRPr>
      </a:lvl1pPr>
    </p:titleStyle>
    <p:bodyStyle>
      <a:lvl1pPr marL="270000" indent="-270000" algn="l" defTabSz="914400" rtl="0" eaLnBrk="1" latinLnBrk="0" hangingPunct="1">
        <a:lnSpc>
          <a:spcPct val="90000"/>
        </a:lnSpc>
        <a:spcBef>
          <a:spcPts val="0"/>
        </a:spcBef>
        <a:spcAft>
          <a:spcPts val="1000"/>
        </a:spcAft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542925" indent="-276225" algn="l" defTabSz="914400" rtl="0" eaLnBrk="1" latinLnBrk="0" hangingPunct="1">
        <a:lnSpc>
          <a:spcPct val="90000"/>
        </a:lnSpc>
        <a:spcBef>
          <a:spcPts val="0"/>
        </a:spcBef>
        <a:spcAft>
          <a:spcPts val="1000"/>
        </a:spcAft>
        <a:buClr>
          <a:schemeClr val="accent1"/>
        </a:buClr>
        <a:buFont typeface="Symbol" panose="05050102010706020507" pitchFamily="18" charset="2"/>
        <a:buChar char="-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809625" indent="-266700" algn="l" defTabSz="914400" rtl="0" eaLnBrk="1" latinLnBrk="0" hangingPunct="1">
        <a:lnSpc>
          <a:spcPct val="90000"/>
        </a:lnSpc>
        <a:spcBef>
          <a:spcPts val="0"/>
        </a:spcBef>
        <a:spcAft>
          <a:spcPts val="1000"/>
        </a:spcAft>
        <a:buClr>
          <a:schemeClr val="bg1">
            <a:lumMod val="75000"/>
          </a:schemeClr>
        </a:buClr>
        <a:buFont typeface="Symbol" panose="05050102010706020507" pitchFamily="18" charset="2"/>
        <a:buChar char="-"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1076325" indent="-266700" algn="l" defTabSz="914400" rtl="0" eaLnBrk="1" latinLnBrk="0" hangingPunct="1">
        <a:lnSpc>
          <a:spcPct val="90000"/>
        </a:lnSpc>
        <a:spcBef>
          <a:spcPts val="0"/>
        </a:spcBef>
        <a:spcAft>
          <a:spcPts val="1000"/>
        </a:spcAft>
        <a:buClr>
          <a:schemeClr val="bg1">
            <a:lumMod val="75000"/>
          </a:schemeClr>
        </a:buClr>
        <a:buFont typeface="Symbol" panose="05050102010706020507" pitchFamily="18" charset="2"/>
        <a:buChar char="-"/>
        <a:defRPr sz="11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1343025" indent="-266700" algn="l" defTabSz="914400" rtl="0" eaLnBrk="1" latinLnBrk="0" hangingPunct="1">
        <a:lnSpc>
          <a:spcPct val="90000"/>
        </a:lnSpc>
        <a:spcBef>
          <a:spcPts val="0"/>
        </a:spcBef>
        <a:spcAft>
          <a:spcPts val="1000"/>
        </a:spcAft>
        <a:buClr>
          <a:schemeClr val="accent1"/>
        </a:buClr>
        <a:buFont typeface="Symbol" panose="05050102010706020507" pitchFamily="18" charset="2"/>
        <a:buChar char="-"/>
        <a:defRPr sz="11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558" userDrawn="1">
          <p15:clr>
            <a:srgbClr val="A4A3A4"/>
          </p15:clr>
        </p15:guide>
        <p15:guide id="2" pos="5120" userDrawn="1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78263" y="334800"/>
            <a:ext cx="11021384" cy="125016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de-DE"/>
              <a:t>Mastertitelformat bearbeit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78263" y="1590676"/>
            <a:ext cx="11021384" cy="4421504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32" name="Text Box 8"/>
          <p:cNvSpPr txBox="1">
            <a:spLocks noChangeArrowheads="1"/>
          </p:cNvSpPr>
          <p:nvPr/>
        </p:nvSpPr>
        <p:spPr bwMode="auto">
          <a:xfrm>
            <a:off x="562634" y="6453421"/>
            <a:ext cx="385583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>
              <a:spcBef>
                <a:spcPts val="0"/>
              </a:spcBef>
              <a:spcAft>
                <a:spcPct val="0"/>
              </a:spcAft>
              <a:buFontTx/>
              <a:buNone/>
            </a:pPr>
            <a:r>
              <a:rPr lang="de-DE" sz="800">
                <a:solidFill>
                  <a:schemeClr val="bg2"/>
                </a:solidFill>
                <a:latin typeface="+mn-lt"/>
              </a:rPr>
              <a:t>© Fraunhofer IEM / Heinz Nixdorf Institut</a:t>
            </a:r>
          </a:p>
          <a:p>
            <a:pPr>
              <a:spcBef>
                <a:spcPts val="0"/>
              </a:spcBef>
              <a:spcAft>
                <a:spcPct val="0"/>
              </a:spcAft>
              <a:buFontTx/>
              <a:buNone/>
            </a:pPr>
            <a:r>
              <a:rPr lang="de-DE" sz="800">
                <a:solidFill>
                  <a:schemeClr val="bg2"/>
                </a:solidFill>
                <a:latin typeface="+mn-lt"/>
              </a:rPr>
              <a:t>Folie </a:t>
            </a:r>
            <a:fld id="{465E0D68-ABFE-4BAD-A58E-05251C14C1FA}" type="slidenum">
              <a:rPr lang="de-DE" sz="800" smtClean="0">
                <a:solidFill>
                  <a:schemeClr val="bg2"/>
                </a:solidFill>
                <a:latin typeface="+mn-lt"/>
              </a:rPr>
              <a:pPr>
                <a:spcBef>
                  <a:spcPts val="0"/>
                </a:spcBef>
                <a:spcAft>
                  <a:spcPct val="0"/>
                </a:spcAft>
                <a:buFontTx/>
                <a:buNone/>
              </a:pPr>
              <a:t>‹#›</a:t>
            </a:fld>
            <a:r>
              <a:rPr lang="de-DE" sz="800">
                <a:solidFill>
                  <a:schemeClr val="bg2"/>
                </a:solidFill>
                <a:latin typeface="+mn-lt"/>
              </a:rPr>
              <a:t> </a:t>
            </a:r>
          </a:p>
        </p:txBody>
      </p:sp>
      <p:sp>
        <p:nvSpPr>
          <p:cNvPr id="7" name="Line 7"/>
          <p:cNvSpPr>
            <a:spLocks noChangeShapeType="1"/>
          </p:cNvSpPr>
          <p:nvPr/>
        </p:nvSpPr>
        <p:spPr bwMode="auto">
          <a:xfrm flipV="1">
            <a:off x="575925" y="6165380"/>
            <a:ext cx="11036225" cy="0"/>
          </a:xfrm>
          <a:prstGeom prst="line">
            <a:avLst/>
          </a:prstGeom>
          <a:noFill/>
          <a:ln w="3175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800"/>
          </a:p>
        </p:txBody>
      </p:sp>
      <p:pic>
        <p:nvPicPr>
          <p:cNvPr id="51" name="Grafik 50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23249" y="6300000"/>
            <a:ext cx="1884097" cy="419960"/>
          </a:xfrm>
          <a:prstGeom prst="rect">
            <a:avLst/>
          </a:prstGeom>
        </p:spPr>
      </p:pic>
      <p:pic>
        <p:nvPicPr>
          <p:cNvPr id="4" name="Grafik 3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4490" y="6385933"/>
            <a:ext cx="1949285" cy="248094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 userDrawn="1"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149" b="23187"/>
          <a:stretch/>
        </p:blipFill>
        <p:spPr>
          <a:xfrm>
            <a:off x="7121745" y="6249105"/>
            <a:ext cx="894495" cy="3952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43850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  <p:sldLayoutId id="2147483716" r:id="rId5"/>
    <p:sldLayoutId id="2147483717" r:id="rId6"/>
    <p:sldLayoutId id="2147483718" r:id="rId7"/>
    <p:sldLayoutId id="2147483720" r:id="rId8"/>
  </p:sldLayoutIdLst>
  <p:txStyles>
    <p:titleStyle>
      <a:lvl1pPr marL="0" indent="0" algn="l" defTabSz="504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utiger LT Com 45 Light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utiger LT Com 45 Light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utiger LT Com 45 Light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utiger LT Com 45 Light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utiger LT Com 45 Light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utiger LT Com 45 Light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utiger LT Com 45 Light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utiger LT Com 45 Light" pitchFamily="34" charset="0"/>
        </a:defRPr>
      </a:lvl9pPr>
    </p:titleStyle>
    <p:bodyStyle>
      <a:lvl1pPr marL="360000" indent="-360000" algn="l" defTabSz="360000" rtl="0" eaLnBrk="1" fontAlgn="base" hangingPunct="1">
        <a:spcBef>
          <a:spcPct val="0"/>
        </a:spcBef>
        <a:spcAft>
          <a:spcPts val="900"/>
        </a:spcAft>
        <a:buClr>
          <a:schemeClr val="tx2"/>
        </a:buClr>
        <a:buFont typeface="Wingdings" pitchFamily="2" charset="2"/>
        <a:buChar char="n"/>
        <a:defRPr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20000" indent="-360000" algn="l" defTabSz="360000" rtl="0" eaLnBrk="1" fontAlgn="base" hangingPunct="1">
        <a:spcBef>
          <a:spcPct val="0"/>
        </a:spcBef>
        <a:spcAft>
          <a:spcPts val="900"/>
        </a:spcAft>
        <a:buClr>
          <a:schemeClr val="bg2"/>
        </a:buClr>
        <a:buFont typeface="Wingdings" pitchFamily="2" charset="2"/>
        <a:buChar char="n"/>
        <a:defRPr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2pPr>
      <a:lvl3pPr marL="1080000" indent="-360000" algn="l" defTabSz="360000" rtl="0" eaLnBrk="1" fontAlgn="base" hangingPunct="1">
        <a:spcBef>
          <a:spcPct val="0"/>
        </a:spcBef>
        <a:spcAft>
          <a:spcPts val="900"/>
        </a:spcAft>
        <a:buClr>
          <a:schemeClr val="bg2"/>
        </a:buClr>
        <a:buFont typeface="Wingdings" pitchFamily="2" charset="2"/>
        <a:buChar char="n"/>
        <a:defRPr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3pPr>
      <a:lvl4pPr marL="1440000" indent="-360000" algn="l" defTabSz="360000" rtl="0" eaLnBrk="1" fontAlgn="base" hangingPunct="1">
        <a:spcBef>
          <a:spcPct val="0"/>
        </a:spcBef>
        <a:spcAft>
          <a:spcPts val="900"/>
        </a:spcAft>
        <a:buClr>
          <a:schemeClr val="bg2"/>
        </a:buClr>
        <a:buFont typeface="Wingdings" pitchFamily="2" charset="2"/>
        <a:buChar char="n"/>
        <a:defRPr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4pPr>
      <a:lvl5pPr marL="1800000" indent="-360000" algn="l" defTabSz="360000" rtl="0" eaLnBrk="1" fontAlgn="base" hangingPunct="1">
        <a:spcBef>
          <a:spcPct val="0"/>
        </a:spcBef>
        <a:spcAft>
          <a:spcPts val="900"/>
        </a:spcAft>
        <a:buClr>
          <a:schemeClr val="bg2"/>
        </a:buClr>
        <a:buFont typeface="Wingdings" pitchFamily="2" charset="2"/>
        <a:buChar char="n"/>
        <a:defRPr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1887538" indent="-358775" algn="l" rtl="0" eaLnBrk="1" fontAlgn="base" hangingPunct="1">
        <a:spcBef>
          <a:spcPct val="0"/>
        </a:spcBef>
        <a:spcAft>
          <a:spcPct val="40000"/>
        </a:spcAft>
        <a:buClr>
          <a:schemeClr val="bg2"/>
        </a:buClr>
        <a:buFont typeface="Wingdings" pitchFamily="2" charset="2"/>
        <a:buChar char="n"/>
        <a:defRPr>
          <a:solidFill>
            <a:schemeClr val="tx1"/>
          </a:solidFill>
          <a:latin typeface="+mn-lt"/>
        </a:defRPr>
      </a:lvl6pPr>
      <a:lvl7pPr marL="2344738" indent="-358775" algn="l" rtl="0" eaLnBrk="1" fontAlgn="base" hangingPunct="1">
        <a:spcBef>
          <a:spcPct val="0"/>
        </a:spcBef>
        <a:spcAft>
          <a:spcPct val="40000"/>
        </a:spcAft>
        <a:buClr>
          <a:schemeClr val="bg2"/>
        </a:buClr>
        <a:buFont typeface="Wingdings" pitchFamily="2" charset="2"/>
        <a:buChar char="n"/>
        <a:defRPr>
          <a:solidFill>
            <a:schemeClr val="tx1"/>
          </a:solidFill>
          <a:latin typeface="+mn-lt"/>
        </a:defRPr>
      </a:lvl7pPr>
      <a:lvl8pPr marL="2801938" indent="-358775" algn="l" rtl="0" eaLnBrk="1" fontAlgn="base" hangingPunct="1">
        <a:spcBef>
          <a:spcPct val="0"/>
        </a:spcBef>
        <a:spcAft>
          <a:spcPct val="40000"/>
        </a:spcAft>
        <a:buClr>
          <a:schemeClr val="bg2"/>
        </a:buClr>
        <a:buFont typeface="Wingdings" pitchFamily="2" charset="2"/>
        <a:buChar char="n"/>
        <a:defRPr>
          <a:solidFill>
            <a:schemeClr val="tx1"/>
          </a:solidFill>
          <a:latin typeface="+mn-lt"/>
        </a:defRPr>
      </a:lvl8pPr>
      <a:lvl9pPr marL="3259138" indent="-358775" algn="l" rtl="0" eaLnBrk="1" fontAlgn="base" hangingPunct="1">
        <a:spcBef>
          <a:spcPct val="0"/>
        </a:spcBef>
        <a:spcAft>
          <a:spcPct val="40000"/>
        </a:spcAft>
        <a:buClr>
          <a:schemeClr val="bg2"/>
        </a:buClr>
        <a:buFont typeface="Wingdings" pitchFamily="2" charset="2"/>
        <a:buChar char="n"/>
        <a:defRPr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2517558" y="651517"/>
            <a:ext cx="9002844" cy="53050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Main Title</a:t>
            </a:r>
          </a:p>
        </p:txBody>
      </p:sp>
      <p:pic>
        <p:nvPicPr>
          <p:cNvPr id="4" name="Bild 3" descr="SCB_Logo_RGB_47mm.jpg"/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688" y="541693"/>
            <a:ext cx="1595759" cy="449991"/>
          </a:xfrm>
          <a:prstGeom prst="rect">
            <a:avLst/>
          </a:prstGeom>
        </p:spPr>
      </p:pic>
      <p:sp>
        <p:nvSpPr>
          <p:cNvPr id="39" name="Rechteck 38"/>
          <p:cNvSpPr/>
          <p:nvPr/>
        </p:nvSpPr>
        <p:spPr>
          <a:xfrm>
            <a:off x="11520402" y="6363751"/>
            <a:ext cx="670013" cy="216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1" rIns="91440" bIns="45721" rtlCol="0" anchor="ctr"/>
          <a:lstStyle/>
          <a:p>
            <a:pPr algn="ctr"/>
            <a:endParaRPr lang="de-DE" sz="2400"/>
          </a:p>
        </p:txBody>
      </p:sp>
      <p:sp>
        <p:nvSpPr>
          <p:cNvPr id="74" name="Rechteck 73"/>
          <p:cNvSpPr/>
          <p:nvPr/>
        </p:nvSpPr>
        <p:spPr>
          <a:xfrm>
            <a:off x="11935323" y="6363751"/>
            <a:ext cx="255091" cy="2160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1" rIns="91440" bIns="45721" rtlCol="0" anchor="ctr"/>
          <a:lstStyle/>
          <a:p>
            <a:pPr algn="ctr"/>
            <a:endParaRPr lang="de-DE" sz="2400"/>
          </a:p>
        </p:txBody>
      </p:sp>
      <p:cxnSp>
        <p:nvCxnSpPr>
          <p:cNvPr id="37" name="Gerade Verbindung 36"/>
          <p:cNvCxnSpPr/>
          <p:nvPr/>
        </p:nvCxnSpPr>
        <p:spPr>
          <a:xfrm>
            <a:off x="11520402" y="6363751"/>
            <a:ext cx="670013" cy="0"/>
          </a:xfrm>
          <a:prstGeom prst="line">
            <a:avLst/>
          </a:prstGeom>
          <a:ln w="72000" cmpd="sng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2" name="Foliennummernplatzhalter 5">
            <a:extLst>
              <a:ext uri="{FF2B5EF4-FFF2-40B4-BE49-F238E27FC236}">
                <a16:creationId xmlns:a16="http://schemas.microsoft.com/office/drawing/2014/main" id="{F5DD2625-1A52-4C5D-805E-9AC812C32D45}"/>
              </a:ext>
            </a:extLst>
          </p:cNvPr>
          <p:cNvSpPr txBox="1">
            <a:spLocks/>
          </p:cNvSpPr>
          <p:nvPr/>
        </p:nvSpPr>
        <p:spPr bwMode="auto">
          <a:xfrm>
            <a:off x="670013" y="6191557"/>
            <a:ext cx="1592470" cy="666443"/>
          </a:xfrm>
          <a:prstGeom prst="rect">
            <a:avLst/>
          </a:prstGeom>
          <a:noFill/>
        </p:spPr>
        <p:txBody>
          <a:bodyPr lIns="0" tIns="0" rIns="0" bIns="0" anchor="ctr" anchorCtr="0"/>
          <a:lstStyle>
            <a:lvl1pPr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l" eaLnBrk="1" hangingPunct="1">
              <a:defRPr/>
            </a:pPr>
            <a:r>
              <a:rPr lang="de-DE" altLang="de-DE" sz="1067">
                <a:solidFill>
                  <a:schemeClr val="accent5"/>
                </a:solidFill>
                <a:latin typeface="Arial" panose="020B0604020202020204" pitchFamily="34" charset="0"/>
              </a:rPr>
              <a:t> © Schmitz Cargobull</a:t>
            </a:r>
          </a:p>
        </p:txBody>
      </p:sp>
      <p:sp>
        <p:nvSpPr>
          <p:cNvPr id="18" name="Espace réservé du numéro de diapositive 5"/>
          <p:cNvSpPr txBox="1">
            <a:spLocks/>
          </p:cNvSpPr>
          <p:nvPr/>
        </p:nvSpPr>
        <p:spPr>
          <a:xfrm>
            <a:off x="11520401" y="6180138"/>
            <a:ext cx="670013" cy="677863"/>
          </a:xfrm>
          <a:prstGeom prst="rect">
            <a:avLst/>
          </a:prstGeom>
        </p:spPr>
        <p:txBody>
          <a:bodyPr lIns="0" tIns="0" rIns="360001" bIns="0" anchor="ctr" anchorCtr="0"/>
          <a:lstStyle>
            <a:lvl1pPr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algn="r" defTabSz="11720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7E95206-EC0C-43EF-8E7D-2BA7BDFE308A}" type="slidenum">
              <a:rPr kumimoji="0" lang="en-US" sz="1067" b="0" i="0" u="none" strike="noStrike" kern="1200" cap="none" spc="0" normalizeH="0" baseline="0" noProof="0" smtClean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1172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67" b="0" i="0" u="none" strike="noStrike" kern="1200" cap="none" spc="0" normalizeH="0" baseline="0" noProof="0">
              <a:ln>
                <a:noFill/>
              </a:ln>
              <a:solidFill>
                <a:schemeClr val="accent5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9" name="Fußzeilenplatzhalter 2"/>
          <p:cNvSpPr>
            <a:spLocks noGrp="1"/>
          </p:cNvSpPr>
          <p:nvPr>
            <p:ph type="ftr" sz="quarter" idx="3"/>
          </p:nvPr>
        </p:nvSpPr>
        <p:spPr>
          <a:xfrm>
            <a:off x="4122537" y="6192000"/>
            <a:ext cx="7380962" cy="66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6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Ringvorlesung – Digitale Transformation bei Schmitz Cargobull</a:t>
            </a:r>
          </a:p>
        </p:txBody>
      </p:sp>
      <p:sp>
        <p:nvSpPr>
          <p:cNvPr id="10" name="Datumsplatzhalter 4"/>
          <p:cNvSpPr>
            <a:spLocks noGrp="1"/>
          </p:cNvSpPr>
          <p:nvPr>
            <p:ph type="dt" sz="half" idx="2"/>
          </p:nvPr>
        </p:nvSpPr>
        <p:spPr>
          <a:xfrm>
            <a:off x="2520328" y="6191559"/>
            <a:ext cx="1602209" cy="66644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6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17.01.2019</a:t>
            </a:r>
          </a:p>
        </p:txBody>
      </p:sp>
    </p:spTree>
    <p:extLst>
      <p:ext uri="{BB962C8B-B14F-4D97-AF65-F5344CB8AC3E}">
        <p14:creationId xmlns:p14="http://schemas.microsoft.com/office/powerpoint/2010/main" val="16554278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  <p:sldLayoutId id="2147483724" r:id="rId2"/>
    <p:sldLayoutId id="2147483725" r:id="rId3"/>
    <p:sldLayoutId id="2147483726" r:id="rId4"/>
    <p:sldLayoutId id="2147483727" r:id="rId5"/>
    <p:sldLayoutId id="2147483728" r:id="rId6"/>
    <p:sldLayoutId id="2147483729" r:id="rId7"/>
    <p:sldLayoutId id="2147483730" r:id="rId8"/>
    <p:sldLayoutId id="2147483731" r:id="rId9"/>
    <p:sldLayoutId id="2147483732" r:id="rId10"/>
    <p:sldLayoutId id="2147483733" r:id="rId11"/>
    <p:sldLayoutId id="2147483734" r:id="rId12"/>
    <p:sldLayoutId id="2147483735" r:id="rId13"/>
    <p:sldLayoutId id="2147483736" r:id="rId14"/>
    <p:sldLayoutId id="2147483737" r:id="rId15"/>
    <p:sldLayoutId id="2147483738" r:id="rId16"/>
    <p:sldLayoutId id="2147483739" r:id="rId17"/>
    <p:sldLayoutId id="2147483740" r:id="rId18"/>
    <p:sldLayoutId id="2147483741" r:id="rId19"/>
    <p:sldLayoutId id="2147483744" r:id="rId20"/>
    <p:sldLayoutId id="2147483745" r:id="rId21"/>
  </p:sldLayoutIdLst>
  <p:hf sldNum="0" hdr="0"/>
  <p:txStyles>
    <p:titleStyle>
      <a:lvl1pPr algn="l" defTabSz="1172037" rtl="0" eaLnBrk="1" latinLnBrk="0" hangingPunct="1">
        <a:spcBef>
          <a:spcPct val="0"/>
        </a:spcBef>
        <a:buNone/>
        <a:defRPr lang="en-US" sz="2666" b="1" i="0" kern="1200" spc="0" baseline="0" noProof="0" dirty="0">
          <a:solidFill>
            <a:schemeClr val="accent5"/>
          </a:solidFill>
          <a:effectLst/>
          <a:latin typeface="Arial"/>
          <a:ea typeface="+mj-ea"/>
          <a:cs typeface="Arial"/>
        </a:defRPr>
      </a:lvl1pPr>
    </p:titleStyle>
    <p:bodyStyle>
      <a:lvl1pPr marL="304758" indent="-304758" algn="l" defTabSz="1172037" rtl="0" eaLnBrk="1" latinLnBrk="0" hangingPunct="1">
        <a:lnSpc>
          <a:spcPct val="100000"/>
        </a:lnSpc>
        <a:spcBef>
          <a:spcPts val="1067"/>
        </a:spcBef>
        <a:buClr>
          <a:schemeClr val="tx1"/>
        </a:buClr>
        <a:buSzPct val="80000"/>
        <a:buFont typeface="Wingdings 3" panose="05040102010807070707" pitchFamily="18" charset="2"/>
        <a:buChar char="u"/>
        <a:defRPr sz="2666" b="0" i="0" kern="900" spc="0">
          <a:solidFill>
            <a:schemeClr val="tx1"/>
          </a:solidFill>
          <a:latin typeface="+mn-lt"/>
          <a:ea typeface="+mn-ea"/>
          <a:cs typeface="3ds Light"/>
        </a:defRPr>
      </a:lvl1pPr>
      <a:lvl2pPr marL="533325" marR="0" indent="-234918" algn="l" defTabSz="1172037" rtl="0" eaLnBrk="1" fontAlgn="auto" latinLnBrk="0" hangingPunct="1">
        <a:lnSpc>
          <a:spcPct val="100000"/>
        </a:lnSpc>
        <a:spcBef>
          <a:spcPts val="800"/>
        </a:spcBef>
        <a:spcAft>
          <a:spcPts val="0"/>
        </a:spcAft>
        <a:buClr>
          <a:schemeClr val="tx1"/>
        </a:buClr>
        <a:buSzPct val="75000"/>
        <a:buFont typeface="Wingdings 3" panose="05040102010807070707" pitchFamily="18" charset="2"/>
        <a:buChar char="w"/>
        <a:tabLst/>
        <a:defRPr sz="2400" b="0" i="0" kern="900" spc="0" baseline="0">
          <a:solidFill>
            <a:schemeClr val="tx1"/>
          </a:solidFill>
          <a:latin typeface="+mn-lt"/>
          <a:ea typeface="+mn-ea"/>
          <a:cs typeface="3ds Light"/>
        </a:defRPr>
      </a:lvl2pPr>
      <a:lvl3pPr marL="838082" marR="0" indent="-211638" algn="l" defTabSz="1172037" rtl="0" eaLnBrk="1" fontAlgn="auto" latinLnBrk="0" hangingPunct="1">
        <a:lnSpc>
          <a:spcPct val="100000"/>
        </a:lnSpc>
        <a:spcBef>
          <a:spcPts val="533"/>
        </a:spcBef>
        <a:spcAft>
          <a:spcPts val="0"/>
        </a:spcAft>
        <a:buClr>
          <a:schemeClr val="tx1"/>
        </a:buClr>
        <a:buSzPct val="60000"/>
        <a:buFont typeface="Wingdings 3" panose="05040102010807070707" pitchFamily="18" charset="2"/>
        <a:buChar char="u"/>
        <a:tabLst/>
        <a:defRPr sz="2133" b="0" i="0" kern="900" spc="0">
          <a:solidFill>
            <a:schemeClr val="tx1"/>
          </a:solidFill>
          <a:latin typeface="+mn-lt"/>
          <a:ea typeface="+mn-ea"/>
          <a:cs typeface="3ds Light"/>
        </a:defRPr>
      </a:lvl3pPr>
      <a:lvl4pPr marL="1142838" indent="-239149" algn="l" defTabSz="1172037" rtl="0" eaLnBrk="1" latinLnBrk="0" hangingPunct="1">
        <a:lnSpc>
          <a:spcPct val="100000"/>
        </a:lnSpc>
        <a:spcBef>
          <a:spcPts val="533"/>
        </a:spcBef>
        <a:buClr>
          <a:schemeClr val="tx1"/>
        </a:buClr>
        <a:buSzPct val="60000"/>
        <a:buFont typeface="Wingdings 3" panose="05040102010807070707" pitchFamily="18" charset="2"/>
        <a:buChar char="w"/>
        <a:defRPr sz="1866" b="0" i="0" kern="900" spc="-93">
          <a:solidFill>
            <a:schemeClr val="tx1"/>
          </a:solidFill>
          <a:latin typeface="+mn-lt"/>
          <a:ea typeface="+mn-ea"/>
          <a:cs typeface="3ds Light"/>
        </a:defRPr>
      </a:lvl4pPr>
      <a:lvl5pPr marL="1219027" indent="0" algn="l" defTabSz="1371406" rtl="0" eaLnBrk="1" latinLnBrk="0" hangingPunct="1">
        <a:lnSpc>
          <a:spcPct val="100000"/>
        </a:lnSpc>
        <a:spcBef>
          <a:spcPts val="400"/>
        </a:spcBef>
        <a:buFont typeface="Arial"/>
        <a:buNone/>
        <a:defRPr sz="1600" b="0" i="0" kern="1200" baseline="0">
          <a:solidFill>
            <a:schemeClr val="tx1"/>
          </a:solidFill>
          <a:latin typeface="+mn-lt"/>
          <a:ea typeface="+mn-ea"/>
          <a:cs typeface="3ds Light"/>
        </a:defRPr>
      </a:lvl5pPr>
      <a:lvl6pPr marL="3223100" indent="-293009" algn="l" defTabSz="1172037" rtl="0" eaLnBrk="1" latinLnBrk="0" hangingPunct="1">
        <a:spcBef>
          <a:spcPct val="20000"/>
        </a:spcBef>
        <a:buFont typeface="Arial" pitchFamily="34" charset="0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6pPr>
      <a:lvl7pPr marL="3809118" indent="-293009" algn="l" defTabSz="1172037" rtl="0" eaLnBrk="1" latinLnBrk="0" hangingPunct="1">
        <a:spcBef>
          <a:spcPct val="20000"/>
        </a:spcBef>
        <a:buFont typeface="Arial" pitchFamily="34" charset="0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7pPr>
      <a:lvl8pPr marL="4395135" indent="-293009" algn="l" defTabSz="1172037" rtl="0" eaLnBrk="1" latinLnBrk="0" hangingPunct="1">
        <a:spcBef>
          <a:spcPct val="20000"/>
        </a:spcBef>
        <a:buFont typeface="Arial" pitchFamily="34" charset="0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8pPr>
      <a:lvl9pPr marL="4981154" indent="-293009" algn="l" defTabSz="1172037" rtl="0" eaLnBrk="1" latinLnBrk="0" hangingPunct="1">
        <a:spcBef>
          <a:spcPct val="20000"/>
        </a:spcBef>
        <a:buFont typeface="Arial" pitchFamily="34" charset="0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1172037" rtl="0" eaLnBrk="1" latinLnBrk="0" hangingPunct="1">
        <a:defRPr sz="2266" kern="1200">
          <a:solidFill>
            <a:schemeClr val="tx1"/>
          </a:solidFill>
          <a:latin typeface="+mn-lt"/>
          <a:ea typeface="+mn-ea"/>
          <a:cs typeface="+mn-cs"/>
        </a:defRPr>
      </a:lvl1pPr>
      <a:lvl2pPr marL="586019" algn="l" defTabSz="1172037" rtl="0" eaLnBrk="1" latinLnBrk="0" hangingPunct="1">
        <a:defRPr sz="2266" kern="1200">
          <a:solidFill>
            <a:schemeClr val="tx1"/>
          </a:solidFill>
          <a:latin typeface="+mn-lt"/>
          <a:ea typeface="+mn-ea"/>
          <a:cs typeface="+mn-cs"/>
        </a:defRPr>
      </a:lvl2pPr>
      <a:lvl3pPr marL="1172037" algn="l" defTabSz="1172037" rtl="0" eaLnBrk="1" latinLnBrk="0" hangingPunct="1">
        <a:defRPr sz="2266" kern="1200">
          <a:solidFill>
            <a:schemeClr val="tx1"/>
          </a:solidFill>
          <a:latin typeface="+mn-lt"/>
          <a:ea typeface="+mn-ea"/>
          <a:cs typeface="+mn-cs"/>
        </a:defRPr>
      </a:lvl3pPr>
      <a:lvl4pPr marL="1758055" algn="l" defTabSz="1172037" rtl="0" eaLnBrk="1" latinLnBrk="0" hangingPunct="1">
        <a:defRPr sz="2266" kern="1200">
          <a:solidFill>
            <a:schemeClr val="tx1"/>
          </a:solidFill>
          <a:latin typeface="+mn-lt"/>
          <a:ea typeface="+mn-ea"/>
          <a:cs typeface="+mn-cs"/>
        </a:defRPr>
      </a:lvl4pPr>
      <a:lvl5pPr marL="2344072" algn="l" defTabSz="1172037" rtl="0" eaLnBrk="1" latinLnBrk="0" hangingPunct="1">
        <a:defRPr sz="2266" kern="1200">
          <a:solidFill>
            <a:schemeClr val="tx1"/>
          </a:solidFill>
          <a:latin typeface="+mn-lt"/>
          <a:ea typeface="+mn-ea"/>
          <a:cs typeface="+mn-cs"/>
        </a:defRPr>
      </a:lvl5pPr>
      <a:lvl6pPr marL="2930090" algn="l" defTabSz="1172037" rtl="0" eaLnBrk="1" latinLnBrk="0" hangingPunct="1">
        <a:defRPr sz="2266" kern="1200">
          <a:solidFill>
            <a:schemeClr val="tx1"/>
          </a:solidFill>
          <a:latin typeface="+mn-lt"/>
          <a:ea typeface="+mn-ea"/>
          <a:cs typeface="+mn-cs"/>
        </a:defRPr>
      </a:lvl6pPr>
      <a:lvl7pPr marL="3516108" algn="l" defTabSz="1172037" rtl="0" eaLnBrk="1" latinLnBrk="0" hangingPunct="1">
        <a:defRPr sz="2266" kern="1200">
          <a:solidFill>
            <a:schemeClr val="tx1"/>
          </a:solidFill>
          <a:latin typeface="+mn-lt"/>
          <a:ea typeface="+mn-ea"/>
          <a:cs typeface="+mn-cs"/>
        </a:defRPr>
      </a:lvl7pPr>
      <a:lvl8pPr marL="4102127" algn="l" defTabSz="1172037" rtl="0" eaLnBrk="1" latinLnBrk="0" hangingPunct="1">
        <a:defRPr sz="2266" kern="1200">
          <a:solidFill>
            <a:schemeClr val="tx1"/>
          </a:solidFill>
          <a:latin typeface="+mn-lt"/>
          <a:ea typeface="+mn-ea"/>
          <a:cs typeface="+mn-cs"/>
        </a:defRPr>
      </a:lvl8pPr>
      <a:lvl9pPr marL="4688146" algn="l" defTabSz="1172037" rtl="0" eaLnBrk="1" latinLnBrk="0" hangingPunct="1">
        <a:defRPr sz="226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880">
          <p15:clr>
            <a:srgbClr val="F26B43"/>
          </p15:clr>
        </p15:guide>
        <p15:guide id="2" orient="horz" pos="1620">
          <p15:clr>
            <a:srgbClr val="F26B43"/>
          </p15:clr>
        </p15:guide>
        <p15:guide id="3" pos="453">
          <p15:clr>
            <a:srgbClr val="F26B43"/>
          </p15:clr>
        </p15:guide>
        <p15:guide id="5" orient="horz" pos="226">
          <p15:clr>
            <a:srgbClr val="F26B43"/>
          </p15:clr>
        </p15:guide>
        <p15:guide id="6" orient="horz" pos="2875">
          <p15:clr>
            <a:srgbClr val="F26B43"/>
          </p15:clr>
        </p15:guide>
        <p15:guide id="7" pos="317">
          <p15:clr>
            <a:srgbClr val="F26B43"/>
          </p15:clr>
        </p15:guide>
        <p15:guide id="8" pos="5443">
          <p15:clr>
            <a:srgbClr val="F26B43"/>
          </p15:clr>
        </p15:guide>
        <p15:guide id="9" orient="horz" pos="804">
          <p15:clr>
            <a:srgbClr val="F26B43"/>
          </p15:clr>
        </p15:guide>
        <p15:guide id="10" orient="horz" pos="766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78263" y="334800"/>
            <a:ext cx="11021384" cy="125016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de-DE"/>
              <a:t>Mastertitelformat bearbeit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78263" y="1590676"/>
            <a:ext cx="11021384" cy="4421504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32" name="Text Box 8"/>
          <p:cNvSpPr txBox="1">
            <a:spLocks noChangeArrowheads="1"/>
          </p:cNvSpPr>
          <p:nvPr/>
        </p:nvSpPr>
        <p:spPr bwMode="auto">
          <a:xfrm>
            <a:off x="562634" y="6453421"/>
            <a:ext cx="385583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>
              <a:spcBef>
                <a:spcPts val="0"/>
              </a:spcBef>
              <a:spcAft>
                <a:spcPct val="0"/>
              </a:spcAft>
              <a:buFontTx/>
              <a:buNone/>
            </a:pPr>
            <a:r>
              <a:rPr lang="de-DE" sz="800">
                <a:solidFill>
                  <a:schemeClr val="bg2"/>
                </a:solidFill>
                <a:latin typeface="+mn-lt"/>
              </a:rPr>
              <a:t>© Fraunhofer IEM / Heinz Nixdorf Institut</a:t>
            </a:r>
          </a:p>
          <a:p>
            <a:pPr>
              <a:spcBef>
                <a:spcPts val="0"/>
              </a:spcBef>
              <a:spcAft>
                <a:spcPct val="0"/>
              </a:spcAft>
              <a:buFontTx/>
              <a:buNone/>
            </a:pPr>
            <a:r>
              <a:rPr lang="de-DE" sz="800">
                <a:solidFill>
                  <a:schemeClr val="bg2"/>
                </a:solidFill>
                <a:latin typeface="+mn-lt"/>
              </a:rPr>
              <a:t>Folie </a:t>
            </a:r>
            <a:fld id="{465E0D68-ABFE-4BAD-A58E-05251C14C1FA}" type="slidenum">
              <a:rPr lang="de-DE" sz="800" smtClean="0">
                <a:solidFill>
                  <a:schemeClr val="bg2"/>
                </a:solidFill>
                <a:latin typeface="+mn-lt"/>
              </a:rPr>
              <a:pPr>
                <a:spcBef>
                  <a:spcPts val="0"/>
                </a:spcBef>
                <a:spcAft>
                  <a:spcPct val="0"/>
                </a:spcAft>
                <a:buFontTx/>
                <a:buNone/>
              </a:pPr>
              <a:t>‹#›</a:t>
            </a:fld>
            <a:r>
              <a:rPr lang="de-DE" sz="800">
                <a:solidFill>
                  <a:schemeClr val="bg2"/>
                </a:solidFill>
                <a:latin typeface="+mn-lt"/>
              </a:rPr>
              <a:t> </a:t>
            </a:r>
          </a:p>
        </p:txBody>
      </p:sp>
      <p:sp>
        <p:nvSpPr>
          <p:cNvPr id="7" name="Line 7"/>
          <p:cNvSpPr>
            <a:spLocks noChangeShapeType="1"/>
          </p:cNvSpPr>
          <p:nvPr/>
        </p:nvSpPr>
        <p:spPr bwMode="auto">
          <a:xfrm flipV="1">
            <a:off x="575925" y="6165380"/>
            <a:ext cx="11036225" cy="0"/>
          </a:xfrm>
          <a:prstGeom prst="line">
            <a:avLst/>
          </a:prstGeom>
          <a:noFill/>
          <a:ln w="3175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800"/>
          </a:p>
        </p:txBody>
      </p:sp>
      <p:pic>
        <p:nvPicPr>
          <p:cNvPr id="51" name="Grafik 50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23249" y="6300000"/>
            <a:ext cx="1884097" cy="419960"/>
          </a:xfrm>
          <a:prstGeom prst="rect">
            <a:avLst/>
          </a:prstGeom>
        </p:spPr>
      </p:pic>
      <p:pic>
        <p:nvPicPr>
          <p:cNvPr id="4" name="Grafik 3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4490" y="6385933"/>
            <a:ext cx="1949285" cy="2480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60920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7" r:id="rId1"/>
    <p:sldLayoutId id="2147483748" r:id="rId2"/>
    <p:sldLayoutId id="2147483749" r:id="rId3"/>
    <p:sldLayoutId id="2147483750" r:id="rId4"/>
    <p:sldLayoutId id="2147483751" r:id="rId5"/>
    <p:sldLayoutId id="2147483752" r:id="rId6"/>
    <p:sldLayoutId id="2147483753" r:id="rId7"/>
  </p:sldLayoutIdLst>
  <p:txStyles>
    <p:titleStyle>
      <a:lvl1pPr marL="0" indent="0" algn="l" defTabSz="504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utiger LT Com 45 Light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utiger LT Com 45 Light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utiger LT Com 45 Light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utiger LT Com 45 Light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utiger LT Com 45 Light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utiger LT Com 45 Light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utiger LT Com 45 Light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utiger LT Com 45 Light" pitchFamily="34" charset="0"/>
        </a:defRPr>
      </a:lvl9pPr>
    </p:titleStyle>
    <p:bodyStyle>
      <a:lvl1pPr marL="360000" indent="-360000" algn="l" defTabSz="360000" rtl="0" eaLnBrk="1" fontAlgn="base" hangingPunct="1">
        <a:spcBef>
          <a:spcPct val="0"/>
        </a:spcBef>
        <a:spcAft>
          <a:spcPts val="900"/>
        </a:spcAft>
        <a:buClr>
          <a:schemeClr val="tx2"/>
        </a:buClr>
        <a:buFont typeface="Wingdings" pitchFamily="2" charset="2"/>
        <a:buChar char="n"/>
        <a:defRPr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20000" indent="-360000" algn="l" defTabSz="360000" rtl="0" eaLnBrk="1" fontAlgn="base" hangingPunct="1">
        <a:spcBef>
          <a:spcPct val="0"/>
        </a:spcBef>
        <a:spcAft>
          <a:spcPts val="900"/>
        </a:spcAft>
        <a:buClr>
          <a:schemeClr val="bg2"/>
        </a:buClr>
        <a:buFont typeface="Wingdings" pitchFamily="2" charset="2"/>
        <a:buChar char="n"/>
        <a:defRPr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2pPr>
      <a:lvl3pPr marL="1080000" indent="-360000" algn="l" defTabSz="360000" rtl="0" eaLnBrk="1" fontAlgn="base" hangingPunct="1">
        <a:spcBef>
          <a:spcPct val="0"/>
        </a:spcBef>
        <a:spcAft>
          <a:spcPts val="900"/>
        </a:spcAft>
        <a:buClr>
          <a:schemeClr val="bg2"/>
        </a:buClr>
        <a:buFont typeface="Wingdings" pitchFamily="2" charset="2"/>
        <a:buChar char="n"/>
        <a:defRPr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3pPr>
      <a:lvl4pPr marL="1440000" indent="-360000" algn="l" defTabSz="360000" rtl="0" eaLnBrk="1" fontAlgn="base" hangingPunct="1">
        <a:spcBef>
          <a:spcPct val="0"/>
        </a:spcBef>
        <a:spcAft>
          <a:spcPts val="900"/>
        </a:spcAft>
        <a:buClr>
          <a:schemeClr val="bg2"/>
        </a:buClr>
        <a:buFont typeface="Wingdings" pitchFamily="2" charset="2"/>
        <a:buChar char="n"/>
        <a:defRPr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4pPr>
      <a:lvl5pPr marL="1800000" indent="-360000" algn="l" defTabSz="360000" rtl="0" eaLnBrk="1" fontAlgn="base" hangingPunct="1">
        <a:spcBef>
          <a:spcPct val="0"/>
        </a:spcBef>
        <a:spcAft>
          <a:spcPts val="900"/>
        </a:spcAft>
        <a:buClr>
          <a:schemeClr val="bg2"/>
        </a:buClr>
        <a:buFont typeface="Wingdings" pitchFamily="2" charset="2"/>
        <a:buChar char="n"/>
        <a:defRPr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1887538" indent="-358775" algn="l" rtl="0" eaLnBrk="1" fontAlgn="base" hangingPunct="1">
        <a:spcBef>
          <a:spcPct val="0"/>
        </a:spcBef>
        <a:spcAft>
          <a:spcPct val="40000"/>
        </a:spcAft>
        <a:buClr>
          <a:schemeClr val="bg2"/>
        </a:buClr>
        <a:buFont typeface="Wingdings" pitchFamily="2" charset="2"/>
        <a:buChar char="n"/>
        <a:defRPr>
          <a:solidFill>
            <a:schemeClr val="tx1"/>
          </a:solidFill>
          <a:latin typeface="+mn-lt"/>
        </a:defRPr>
      </a:lvl6pPr>
      <a:lvl7pPr marL="2344738" indent="-358775" algn="l" rtl="0" eaLnBrk="1" fontAlgn="base" hangingPunct="1">
        <a:spcBef>
          <a:spcPct val="0"/>
        </a:spcBef>
        <a:spcAft>
          <a:spcPct val="40000"/>
        </a:spcAft>
        <a:buClr>
          <a:schemeClr val="bg2"/>
        </a:buClr>
        <a:buFont typeface="Wingdings" pitchFamily="2" charset="2"/>
        <a:buChar char="n"/>
        <a:defRPr>
          <a:solidFill>
            <a:schemeClr val="tx1"/>
          </a:solidFill>
          <a:latin typeface="+mn-lt"/>
        </a:defRPr>
      </a:lvl7pPr>
      <a:lvl8pPr marL="2801938" indent="-358775" algn="l" rtl="0" eaLnBrk="1" fontAlgn="base" hangingPunct="1">
        <a:spcBef>
          <a:spcPct val="0"/>
        </a:spcBef>
        <a:spcAft>
          <a:spcPct val="40000"/>
        </a:spcAft>
        <a:buClr>
          <a:schemeClr val="bg2"/>
        </a:buClr>
        <a:buFont typeface="Wingdings" pitchFamily="2" charset="2"/>
        <a:buChar char="n"/>
        <a:defRPr>
          <a:solidFill>
            <a:schemeClr val="tx1"/>
          </a:solidFill>
          <a:latin typeface="+mn-lt"/>
        </a:defRPr>
      </a:lvl8pPr>
      <a:lvl9pPr marL="3259138" indent="-358775" algn="l" rtl="0" eaLnBrk="1" fontAlgn="base" hangingPunct="1">
        <a:spcBef>
          <a:spcPct val="0"/>
        </a:spcBef>
        <a:spcAft>
          <a:spcPct val="40000"/>
        </a:spcAft>
        <a:buClr>
          <a:schemeClr val="bg2"/>
        </a:buClr>
        <a:buFont typeface="Wingdings" pitchFamily="2" charset="2"/>
        <a:buChar char="n"/>
        <a:defRPr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">
            <a:extLst>
              <a:ext uri="{FF2B5EF4-FFF2-40B4-BE49-F238E27FC236}">
                <a16:creationId xmlns:a16="http://schemas.microsoft.com/office/drawing/2014/main" id="{6451DE50-98C4-4ABF-ACA4-8E83BF8F437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1126674" y="6390000"/>
            <a:ext cx="496853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e-DE"/>
              <a:t>© Heinz Nixdorf Institut / Fraunhofer IEM</a:t>
            </a:r>
          </a:p>
        </p:txBody>
      </p:sp>
      <p:sp>
        <p:nvSpPr>
          <p:cNvPr id="5" name="Foliennummernplatzhalter">
            <a:extLst>
              <a:ext uri="{FF2B5EF4-FFF2-40B4-BE49-F238E27FC236}">
                <a16:creationId xmlns:a16="http://schemas.microsoft.com/office/drawing/2014/main" id="{66480EFE-23FD-48FD-AC5A-5A56D5EE0A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40000" y="6390000"/>
            <a:ext cx="22680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65685BD5-7F70-499C-8F04-1460C72EE5D6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23" name="LOGO Fraunhofer">
            <a:extLst>
              <a:ext uri="{FF2B5EF4-FFF2-40B4-BE49-F238E27FC236}">
                <a16:creationId xmlns:a16="http://schemas.microsoft.com/office/drawing/2014/main" id="{30CEED63-907D-4143-85FE-55D1BBAD0893}"/>
              </a:ext>
            </a:extLst>
          </p:cNvPr>
          <p:cNvPicPr>
            <a:picLocks noChangeAspect="1"/>
          </p:cNvPicPr>
          <p:nvPr userDrawn="1"/>
        </p:nvPicPr>
        <p:blipFill>
          <a:blip r:embed="rId34"/>
          <a:stretch>
            <a:fillRect/>
          </a:stretch>
        </p:blipFill>
        <p:spPr bwMode="gray">
          <a:xfrm>
            <a:off x="10220400" y="6339600"/>
            <a:ext cx="1429200" cy="388742"/>
          </a:xfrm>
          <a:prstGeom prst="rect">
            <a:avLst/>
          </a:prstGeom>
        </p:spPr>
      </p:pic>
      <p:pic>
        <p:nvPicPr>
          <p:cNvPr id="71" name="LOGO Heinz Nixdorf Institut - farbig" descr="Ein Bild, das Teller, Zeichnung, Schild enthält.&#10;&#10;Automatisch generierte Beschreibung">
            <a:extLst>
              <a:ext uri="{FF2B5EF4-FFF2-40B4-BE49-F238E27FC236}">
                <a16:creationId xmlns:a16="http://schemas.microsoft.com/office/drawing/2014/main" id="{AB0423B2-19FF-428E-B84F-A59AEDC5813E}"/>
              </a:ext>
            </a:extLst>
          </p:cNvPr>
          <p:cNvPicPr>
            <a:picLocks noChangeAspect="1"/>
          </p:cNvPicPr>
          <p:nvPr userDrawn="1"/>
        </p:nvPicPr>
        <p:blipFill>
          <a:blip r:embed="rId35"/>
          <a:stretch>
            <a:fillRect/>
          </a:stretch>
        </p:blipFill>
        <p:spPr bwMode="gray">
          <a:xfrm>
            <a:off x="8370000" y="6417273"/>
            <a:ext cx="1490400" cy="233161"/>
          </a:xfrm>
          <a:prstGeom prst="rect">
            <a:avLst/>
          </a:prstGeom>
        </p:spPr>
      </p:pic>
      <p:sp>
        <p:nvSpPr>
          <p:cNvPr id="3" name="Inhalt"/>
          <p:cNvSpPr>
            <a:spLocks noGrp="1"/>
          </p:cNvSpPr>
          <p:nvPr>
            <p:ph type="body" idx="1"/>
          </p:nvPr>
        </p:nvSpPr>
        <p:spPr bwMode="gray">
          <a:xfrm>
            <a:off x="540000" y="1512000"/>
            <a:ext cx="11109600" cy="469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fld id="{D627576F-892F-4376-AB12-6E2FE1F0536C}" type="slidenum">
              <a:rPr lang="de-DE" noProof="0" smtClean="0"/>
              <a:t>‹Nr.›</a:t>
            </a:fld>
            <a:r>
              <a:rPr lang="de-DE" noProof="0"/>
              <a:t>Fünfte Ebene</a:t>
            </a:r>
          </a:p>
        </p:txBody>
      </p:sp>
      <p:sp>
        <p:nvSpPr>
          <p:cNvPr id="2" name="Titel"/>
          <p:cNvSpPr>
            <a:spLocks noGrp="1"/>
          </p:cNvSpPr>
          <p:nvPr>
            <p:ph type="title"/>
          </p:nvPr>
        </p:nvSpPr>
        <p:spPr bwMode="gray">
          <a:xfrm>
            <a:off x="540000" y="432000"/>
            <a:ext cx="11109600" cy="792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 noProof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2565669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6" r:id="rId1"/>
    <p:sldLayoutId id="2147483757" r:id="rId2"/>
    <p:sldLayoutId id="2147483758" r:id="rId3"/>
    <p:sldLayoutId id="2147483759" r:id="rId4"/>
    <p:sldLayoutId id="2147483760" r:id="rId5"/>
    <p:sldLayoutId id="2147483761" r:id="rId6"/>
    <p:sldLayoutId id="2147483762" r:id="rId7"/>
    <p:sldLayoutId id="2147483763" r:id="rId8"/>
    <p:sldLayoutId id="2147483764" r:id="rId9"/>
    <p:sldLayoutId id="2147483765" r:id="rId10"/>
    <p:sldLayoutId id="2147483766" r:id="rId11"/>
    <p:sldLayoutId id="2147483767" r:id="rId12"/>
    <p:sldLayoutId id="2147483768" r:id="rId13"/>
    <p:sldLayoutId id="2147483769" r:id="rId14"/>
    <p:sldLayoutId id="2147483770" r:id="rId15"/>
    <p:sldLayoutId id="2147483771" r:id="rId16"/>
    <p:sldLayoutId id="2147483772" r:id="rId17"/>
    <p:sldLayoutId id="2147483773" r:id="rId18"/>
    <p:sldLayoutId id="2147483774" r:id="rId19"/>
    <p:sldLayoutId id="2147483775" r:id="rId20"/>
    <p:sldLayoutId id="2147483776" r:id="rId21"/>
    <p:sldLayoutId id="2147483777" r:id="rId22"/>
    <p:sldLayoutId id="2147483778" r:id="rId23"/>
    <p:sldLayoutId id="2147483779" r:id="rId24"/>
    <p:sldLayoutId id="2147483780" r:id="rId25"/>
    <p:sldLayoutId id="2147483781" r:id="rId26"/>
    <p:sldLayoutId id="2147483782" r:id="rId27"/>
    <p:sldLayoutId id="2147483793" r:id="rId28"/>
    <p:sldLayoutId id="2147483795" r:id="rId29"/>
    <p:sldLayoutId id="2147483796" r:id="rId30"/>
    <p:sldLayoutId id="2147483797" r:id="rId31"/>
    <p:sldLayoutId id="2147483798" r:id="rId3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spcAft>
          <a:spcPts val="1000"/>
        </a:spcAft>
        <a:buNone/>
        <a:defRPr lang="de-DE" sz="2400" b="1" kern="1200" cap="none" baseline="0" noProof="0" dirty="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</p:titleStyle>
    <p:bodyStyle>
      <a:lvl1pPr marL="270000" indent="-270000" algn="l" defTabSz="914400" rtl="0" eaLnBrk="1" latinLnBrk="0" hangingPunct="1">
        <a:lnSpc>
          <a:spcPct val="90000"/>
        </a:lnSpc>
        <a:spcBef>
          <a:spcPts val="0"/>
        </a:spcBef>
        <a:spcAft>
          <a:spcPts val="1000"/>
        </a:spcAft>
        <a:buClr>
          <a:schemeClr val="tx1">
            <a:lumMod val="75000"/>
            <a:lumOff val="25000"/>
          </a:schemeClr>
        </a:buClr>
        <a:buFont typeface="Wingdings" panose="05000000000000000000" pitchFamily="2" charset="2"/>
        <a:buChar char="§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2925" indent="-276225" algn="l" defTabSz="914400" rtl="0" eaLnBrk="1" latinLnBrk="0" hangingPunct="1">
        <a:lnSpc>
          <a:spcPct val="90000"/>
        </a:lnSpc>
        <a:spcBef>
          <a:spcPts val="0"/>
        </a:spcBef>
        <a:spcAft>
          <a:spcPts val="1000"/>
        </a:spcAft>
        <a:buClr>
          <a:schemeClr val="tx1">
            <a:lumMod val="75000"/>
            <a:lumOff val="25000"/>
          </a:schemeClr>
        </a:buClr>
        <a:buSzPct val="90000"/>
        <a:buFont typeface="Wingdings" panose="05000000000000000000" pitchFamily="2" charset="2"/>
        <a:buChar char="§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09625" indent="-266700" algn="l" defTabSz="914400" rtl="0" eaLnBrk="1" latinLnBrk="0" hangingPunct="1">
        <a:lnSpc>
          <a:spcPct val="90000"/>
        </a:lnSpc>
        <a:spcBef>
          <a:spcPts val="0"/>
        </a:spcBef>
        <a:spcAft>
          <a:spcPts val="1000"/>
        </a:spcAft>
        <a:buClr>
          <a:schemeClr val="tx1">
            <a:lumMod val="75000"/>
            <a:lumOff val="25000"/>
          </a:schemeClr>
        </a:buClr>
        <a:buSzPct val="80000"/>
        <a:buFont typeface="Wingdings" panose="05000000000000000000" pitchFamily="2" charset="2"/>
        <a:buChar char="§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76325" indent="-266700" algn="l" defTabSz="914400" rtl="0" eaLnBrk="1" latinLnBrk="0" hangingPunct="1">
        <a:lnSpc>
          <a:spcPct val="90000"/>
        </a:lnSpc>
        <a:spcBef>
          <a:spcPts val="0"/>
        </a:spcBef>
        <a:spcAft>
          <a:spcPts val="1000"/>
        </a:spcAft>
        <a:buClr>
          <a:schemeClr val="tx1">
            <a:lumMod val="75000"/>
            <a:lumOff val="25000"/>
          </a:schemeClr>
        </a:buClr>
        <a:buSzPct val="70000"/>
        <a:buFont typeface="Wingdings" panose="05000000000000000000" pitchFamily="2" charset="2"/>
        <a:buChar char="§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43025" indent="-266700" algn="l" defTabSz="914400" rtl="0" eaLnBrk="1" latinLnBrk="0" hangingPunct="1">
        <a:lnSpc>
          <a:spcPct val="90000"/>
        </a:lnSpc>
        <a:spcBef>
          <a:spcPts val="0"/>
        </a:spcBef>
        <a:spcAft>
          <a:spcPts val="1000"/>
        </a:spcAft>
        <a:buClr>
          <a:schemeClr val="tx1">
            <a:lumMod val="75000"/>
            <a:lumOff val="25000"/>
          </a:schemeClr>
        </a:buClr>
        <a:buSzPct val="60000"/>
        <a:buFont typeface="Wingdings" panose="05000000000000000000" pitchFamily="2" charset="2"/>
        <a:buChar char="§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558">
          <p15:clr>
            <a:srgbClr val="A4A3A4"/>
          </p15:clr>
        </p15:guide>
        <p15:guide id="2" pos="5120">
          <p15:clr>
            <a:srgbClr val="A4A3A4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78264" y="334800"/>
            <a:ext cx="11021383" cy="125016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de-DE"/>
              <a:t>Mastertitelformat bearbeit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78264" y="1590676"/>
            <a:ext cx="11021383" cy="4421504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32" name="Text Box 8"/>
          <p:cNvSpPr txBox="1">
            <a:spLocks noChangeArrowheads="1"/>
          </p:cNvSpPr>
          <p:nvPr/>
        </p:nvSpPr>
        <p:spPr bwMode="auto">
          <a:xfrm>
            <a:off x="562635" y="6453422"/>
            <a:ext cx="445375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>
              <a:spcBef>
                <a:spcPts val="0"/>
              </a:spcBef>
              <a:spcAft>
                <a:spcPct val="0"/>
              </a:spcAft>
              <a:buFontTx/>
              <a:buNone/>
            </a:pPr>
            <a:r>
              <a:rPr lang="de-DE" sz="800">
                <a:solidFill>
                  <a:schemeClr val="bg2"/>
                </a:solidFill>
              </a:rPr>
              <a:t>© Fraunhofer IEM / Heinz Nixdorf Institut	IEMFH072019</a:t>
            </a:r>
          </a:p>
          <a:p>
            <a:pPr>
              <a:spcBef>
                <a:spcPts val="0"/>
              </a:spcBef>
              <a:spcAft>
                <a:spcPct val="0"/>
              </a:spcAft>
              <a:buFontTx/>
              <a:buNone/>
            </a:pPr>
            <a:r>
              <a:rPr lang="de-DE" sz="800">
                <a:solidFill>
                  <a:schemeClr val="bg2"/>
                </a:solidFill>
              </a:rPr>
              <a:t>Folie </a:t>
            </a:r>
            <a:fld id="{465E0D68-ABFE-4BAD-A58E-05251C14C1FA}" type="slidenum">
              <a:rPr lang="de-DE" sz="800" smtClean="0">
                <a:solidFill>
                  <a:schemeClr val="bg2"/>
                </a:solidFill>
              </a:rPr>
              <a:pPr>
                <a:spcBef>
                  <a:spcPts val="0"/>
                </a:spcBef>
                <a:spcAft>
                  <a:spcPct val="0"/>
                </a:spcAft>
                <a:buFontTx/>
                <a:buNone/>
              </a:pPr>
              <a:t>‹#›</a:t>
            </a:fld>
            <a:r>
              <a:rPr lang="de-DE" sz="800">
                <a:solidFill>
                  <a:schemeClr val="bg2"/>
                </a:solidFill>
              </a:rPr>
              <a:t> </a:t>
            </a:r>
          </a:p>
        </p:txBody>
      </p:sp>
      <p:sp>
        <p:nvSpPr>
          <p:cNvPr id="7" name="Line 7"/>
          <p:cNvSpPr>
            <a:spLocks noChangeShapeType="1"/>
          </p:cNvSpPr>
          <p:nvPr/>
        </p:nvSpPr>
        <p:spPr bwMode="auto">
          <a:xfrm flipV="1">
            <a:off x="575925" y="6165380"/>
            <a:ext cx="11036225" cy="0"/>
          </a:xfrm>
          <a:prstGeom prst="line">
            <a:avLst/>
          </a:prstGeom>
          <a:noFill/>
          <a:ln w="3175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800"/>
          </a:p>
        </p:txBody>
      </p:sp>
      <p:pic>
        <p:nvPicPr>
          <p:cNvPr id="51" name="Grafik 50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23249" y="6300000"/>
            <a:ext cx="1884097" cy="419960"/>
          </a:xfrm>
          <a:prstGeom prst="rect">
            <a:avLst/>
          </a:prstGeom>
        </p:spPr>
      </p:pic>
      <p:pic>
        <p:nvPicPr>
          <p:cNvPr id="4" name="Grafik 3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4491" y="6385933"/>
            <a:ext cx="1949284" cy="2480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97406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6" r:id="rId1"/>
    <p:sldLayoutId id="2147483787" r:id="rId2"/>
    <p:sldLayoutId id="2147483788" r:id="rId3"/>
    <p:sldLayoutId id="2147483789" r:id="rId4"/>
    <p:sldLayoutId id="2147483790" r:id="rId5"/>
    <p:sldLayoutId id="2147483791" r:id="rId6"/>
    <p:sldLayoutId id="2147483792" r:id="rId7"/>
  </p:sldLayoutIdLst>
  <p:txStyles>
    <p:titleStyle>
      <a:lvl1pPr marL="0" indent="0" algn="l" defTabSz="50395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utiger LT Com 45 Light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utiger LT Com 45 Light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utiger LT Com 45 Light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utiger LT Com 45 Light" pitchFamily="34" charset="0"/>
        </a:defRPr>
      </a:lvl5pPr>
      <a:lvl6pPr marL="457154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utiger LT Com 45 Light" pitchFamily="34" charset="0"/>
        </a:defRPr>
      </a:lvl6pPr>
      <a:lvl7pPr marL="914309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utiger LT Com 45 Light" pitchFamily="34" charset="0"/>
        </a:defRPr>
      </a:lvl7pPr>
      <a:lvl8pPr marL="1371463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utiger LT Com 45 Light" pitchFamily="34" charset="0"/>
        </a:defRPr>
      </a:lvl8pPr>
      <a:lvl9pPr marL="1828617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utiger LT Com 45 Light" pitchFamily="34" charset="0"/>
        </a:defRPr>
      </a:lvl9pPr>
    </p:titleStyle>
    <p:bodyStyle>
      <a:lvl1pPr marL="359964" indent="-359964" algn="l" defTabSz="359964" rtl="0" eaLnBrk="1" fontAlgn="base" hangingPunct="1">
        <a:spcBef>
          <a:spcPct val="0"/>
        </a:spcBef>
        <a:spcAft>
          <a:spcPts val="900"/>
        </a:spcAft>
        <a:buClr>
          <a:schemeClr val="tx2"/>
        </a:buClr>
        <a:buFont typeface="Wingdings" pitchFamily="2" charset="2"/>
        <a:buChar char="n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719928" indent="-359964" algn="l" defTabSz="359964" rtl="0" eaLnBrk="1" fontAlgn="base" hangingPunct="1">
        <a:spcBef>
          <a:spcPct val="0"/>
        </a:spcBef>
        <a:spcAft>
          <a:spcPts val="900"/>
        </a:spcAft>
        <a:buClr>
          <a:schemeClr val="bg2"/>
        </a:buClr>
        <a:buFont typeface="Wingdings" pitchFamily="2" charset="2"/>
        <a:buChar char="n"/>
        <a:defRPr>
          <a:solidFill>
            <a:schemeClr val="tx1"/>
          </a:solidFill>
          <a:latin typeface="+mn-lt"/>
        </a:defRPr>
      </a:lvl2pPr>
      <a:lvl3pPr marL="1079892" indent="-359964" algn="l" defTabSz="359964" rtl="0" eaLnBrk="1" fontAlgn="base" hangingPunct="1">
        <a:spcBef>
          <a:spcPct val="0"/>
        </a:spcBef>
        <a:spcAft>
          <a:spcPts val="900"/>
        </a:spcAft>
        <a:buClr>
          <a:schemeClr val="bg2"/>
        </a:buClr>
        <a:buFont typeface="Wingdings" pitchFamily="2" charset="2"/>
        <a:buChar char="n"/>
        <a:defRPr>
          <a:solidFill>
            <a:schemeClr val="tx1"/>
          </a:solidFill>
          <a:latin typeface="+mn-lt"/>
        </a:defRPr>
      </a:lvl3pPr>
      <a:lvl4pPr marL="1439856" indent="-359964" algn="l" defTabSz="359964" rtl="0" eaLnBrk="1" fontAlgn="base" hangingPunct="1">
        <a:spcBef>
          <a:spcPct val="0"/>
        </a:spcBef>
        <a:spcAft>
          <a:spcPts val="900"/>
        </a:spcAft>
        <a:buClr>
          <a:schemeClr val="bg2"/>
        </a:buClr>
        <a:buFont typeface="Wingdings" pitchFamily="2" charset="2"/>
        <a:buChar char="n"/>
        <a:defRPr>
          <a:solidFill>
            <a:schemeClr val="tx1"/>
          </a:solidFill>
          <a:latin typeface="+mn-lt"/>
        </a:defRPr>
      </a:lvl4pPr>
      <a:lvl5pPr marL="1799820" indent="-359964" algn="l" defTabSz="359964" rtl="0" eaLnBrk="1" fontAlgn="base" hangingPunct="1">
        <a:spcBef>
          <a:spcPct val="0"/>
        </a:spcBef>
        <a:spcAft>
          <a:spcPts val="900"/>
        </a:spcAft>
        <a:buClr>
          <a:schemeClr val="bg2"/>
        </a:buClr>
        <a:buFont typeface="Wingdings" pitchFamily="2" charset="2"/>
        <a:buChar char="n"/>
        <a:defRPr>
          <a:solidFill>
            <a:schemeClr val="tx1"/>
          </a:solidFill>
          <a:latin typeface="+mn-lt"/>
        </a:defRPr>
      </a:lvl5pPr>
      <a:lvl6pPr marL="1887349" indent="-358739" algn="l" rtl="0" eaLnBrk="1" fontAlgn="base" hangingPunct="1">
        <a:spcBef>
          <a:spcPct val="0"/>
        </a:spcBef>
        <a:spcAft>
          <a:spcPct val="40000"/>
        </a:spcAft>
        <a:buClr>
          <a:schemeClr val="bg2"/>
        </a:buClr>
        <a:buFont typeface="Wingdings" pitchFamily="2" charset="2"/>
        <a:buChar char="n"/>
        <a:defRPr>
          <a:solidFill>
            <a:schemeClr val="tx1"/>
          </a:solidFill>
          <a:latin typeface="+mn-lt"/>
        </a:defRPr>
      </a:lvl6pPr>
      <a:lvl7pPr marL="2344504" indent="-358739" algn="l" rtl="0" eaLnBrk="1" fontAlgn="base" hangingPunct="1">
        <a:spcBef>
          <a:spcPct val="0"/>
        </a:spcBef>
        <a:spcAft>
          <a:spcPct val="40000"/>
        </a:spcAft>
        <a:buClr>
          <a:schemeClr val="bg2"/>
        </a:buClr>
        <a:buFont typeface="Wingdings" pitchFamily="2" charset="2"/>
        <a:buChar char="n"/>
        <a:defRPr>
          <a:solidFill>
            <a:schemeClr val="tx1"/>
          </a:solidFill>
          <a:latin typeface="+mn-lt"/>
        </a:defRPr>
      </a:lvl7pPr>
      <a:lvl8pPr marL="2801658" indent="-358739" algn="l" rtl="0" eaLnBrk="1" fontAlgn="base" hangingPunct="1">
        <a:spcBef>
          <a:spcPct val="0"/>
        </a:spcBef>
        <a:spcAft>
          <a:spcPct val="40000"/>
        </a:spcAft>
        <a:buClr>
          <a:schemeClr val="bg2"/>
        </a:buClr>
        <a:buFont typeface="Wingdings" pitchFamily="2" charset="2"/>
        <a:buChar char="n"/>
        <a:defRPr>
          <a:solidFill>
            <a:schemeClr val="tx1"/>
          </a:solidFill>
          <a:latin typeface="+mn-lt"/>
        </a:defRPr>
      </a:lvl8pPr>
      <a:lvl9pPr marL="3258812" indent="-358739" algn="l" rtl="0" eaLnBrk="1" fontAlgn="base" hangingPunct="1">
        <a:spcBef>
          <a:spcPct val="0"/>
        </a:spcBef>
        <a:spcAft>
          <a:spcPct val="40000"/>
        </a:spcAft>
        <a:buClr>
          <a:schemeClr val="bg2"/>
        </a:buClr>
        <a:buFont typeface="Wingdings" pitchFamily="2" charset="2"/>
        <a:buChar char="n"/>
        <a:defRPr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3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7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1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8.xml"/><Relationship Id="rId4" Type="http://schemas.openxmlformats.org/officeDocument/2006/relationships/image" Target="../media/image18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9.xml"/><Relationship Id="rId5" Type="http://schemas.openxmlformats.org/officeDocument/2006/relationships/image" Target="../media/image66.png"/><Relationship Id="rId4" Type="http://schemas.openxmlformats.org/officeDocument/2006/relationships/image" Target="../media/image65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49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jpeg"/><Relationship Id="rId1" Type="http://schemas.openxmlformats.org/officeDocument/2006/relationships/slideLayout" Target="../slideLayouts/slideLayout7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jpeg"/><Relationship Id="rId2" Type="http://schemas.openxmlformats.org/officeDocument/2006/relationships/image" Target="../media/image69.jpeg"/><Relationship Id="rId1" Type="http://schemas.openxmlformats.org/officeDocument/2006/relationships/slideLayout" Target="../slideLayouts/slideLayout7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jpeg"/><Relationship Id="rId1" Type="http://schemas.openxmlformats.org/officeDocument/2006/relationships/slideLayout" Target="../slideLayouts/slideLayout7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2.xml"/><Relationship Id="rId4" Type="http://schemas.openxmlformats.org/officeDocument/2006/relationships/image" Target="../media/image73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49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2.xml"/><Relationship Id="rId4" Type="http://schemas.openxmlformats.org/officeDocument/2006/relationships/image" Target="../media/image73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youtube.com/watch?v=p82hS0K32fA" TargetMode="External"/><Relationship Id="rId2" Type="http://schemas.openxmlformats.org/officeDocument/2006/relationships/hyperlink" Target="https://www.youtube.com/watch?v=CH2seLS5Wb0" TargetMode="External"/><Relationship Id="rId1" Type="http://schemas.openxmlformats.org/officeDocument/2006/relationships/slideLayout" Target="../slideLayouts/slideLayout69.xml"/><Relationship Id="rId6" Type="http://schemas.openxmlformats.org/officeDocument/2006/relationships/hyperlink" Target="https://www.youtube.com/watch?v=8dGdIcyDk1w" TargetMode="External"/><Relationship Id="rId5" Type="http://schemas.openxmlformats.org/officeDocument/2006/relationships/hyperlink" Target="https://www.youtube.com/watch?v=8S3qHHUKqYk" TargetMode="External"/><Relationship Id="rId4" Type="http://schemas.openxmlformats.org/officeDocument/2006/relationships/hyperlink" Target="https://www.youtube.com/watch?v=gEARZ20M-Zc" TargetMode="Externa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9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jpeg"/><Relationship Id="rId3" Type="http://schemas.openxmlformats.org/officeDocument/2006/relationships/image" Target="../media/image20.jpeg"/><Relationship Id="rId7" Type="http://schemas.microsoft.com/office/2007/relationships/hdphoto" Target="../media/hdphoto3.wdp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9.xml"/><Relationship Id="rId6" Type="http://schemas.openxmlformats.org/officeDocument/2006/relationships/image" Target="../media/image22.png"/><Relationship Id="rId5" Type="http://schemas.microsoft.com/office/2007/relationships/hdphoto" Target="../media/hdphoto2.wdp"/><Relationship Id="rId4" Type="http://schemas.openxmlformats.org/officeDocument/2006/relationships/image" Target="../media/image21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13" Type="http://schemas.openxmlformats.org/officeDocument/2006/relationships/image" Target="../media/image34.jpeg"/><Relationship Id="rId18" Type="http://schemas.openxmlformats.org/officeDocument/2006/relationships/image" Target="../media/image39.jpeg"/><Relationship Id="rId3" Type="http://schemas.openxmlformats.org/officeDocument/2006/relationships/image" Target="../media/image24.png"/><Relationship Id="rId21" Type="http://schemas.openxmlformats.org/officeDocument/2006/relationships/image" Target="../media/image42.jpeg"/><Relationship Id="rId7" Type="http://schemas.openxmlformats.org/officeDocument/2006/relationships/image" Target="../media/image28.png"/><Relationship Id="rId12" Type="http://schemas.openxmlformats.org/officeDocument/2006/relationships/image" Target="../media/image33.png"/><Relationship Id="rId17" Type="http://schemas.openxmlformats.org/officeDocument/2006/relationships/image" Target="../media/image38.jpe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37.png"/><Relationship Id="rId20" Type="http://schemas.openxmlformats.org/officeDocument/2006/relationships/image" Target="../media/image41.png"/><Relationship Id="rId1" Type="http://schemas.openxmlformats.org/officeDocument/2006/relationships/slideLayout" Target="../slideLayouts/slideLayout69.xml"/><Relationship Id="rId6" Type="http://schemas.openxmlformats.org/officeDocument/2006/relationships/image" Target="../media/image27.png"/><Relationship Id="rId11" Type="http://schemas.openxmlformats.org/officeDocument/2006/relationships/image" Target="../media/image32.jpeg"/><Relationship Id="rId24" Type="http://schemas.openxmlformats.org/officeDocument/2006/relationships/image" Target="../media/image45.jpeg"/><Relationship Id="rId5" Type="http://schemas.openxmlformats.org/officeDocument/2006/relationships/image" Target="../media/image26.png"/><Relationship Id="rId15" Type="http://schemas.openxmlformats.org/officeDocument/2006/relationships/image" Target="../media/image36.png"/><Relationship Id="rId23" Type="http://schemas.openxmlformats.org/officeDocument/2006/relationships/image" Target="../media/image44.png"/><Relationship Id="rId10" Type="http://schemas.openxmlformats.org/officeDocument/2006/relationships/image" Target="../media/image31.jpeg"/><Relationship Id="rId19" Type="http://schemas.openxmlformats.org/officeDocument/2006/relationships/image" Target="../media/image40.png"/><Relationship Id="rId4" Type="http://schemas.openxmlformats.org/officeDocument/2006/relationships/image" Target="../media/image25.png"/><Relationship Id="rId9" Type="http://schemas.openxmlformats.org/officeDocument/2006/relationships/image" Target="../media/image30.png"/><Relationship Id="rId14" Type="http://schemas.openxmlformats.org/officeDocument/2006/relationships/image" Target="../media/image35.png"/><Relationship Id="rId22" Type="http://schemas.openxmlformats.org/officeDocument/2006/relationships/image" Target="../media/image4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eg"/><Relationship Id="rId7" Type="http://schemas.openxmlformats.org/officeDocument/2006/relationships/image" Target="../media/image1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0.xml"/><Relationship Id="rId6" Type="http://schemas.openxmlformats.org/officeDocument/2006/relationships/image" Target="../media/image49.jpeg"/><Relationship Id="rId5" Type="http://schemas.openxmlformats.org/officeDocument/2006/relationships/image" Target="../media/image48.jpeg"/><Relationship Id="rId4" Type="http://schemas.openxmlformats.org/officeDocument/2006/relationships/image" Target="../media/image47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3" Type="http://schemas.openxmlformats.org/officeDocument/2006/relationships/image" Target="../media/image50.jpeg"/><Relationship Id="rId7" Type="http://schemas.openxmlformats.org/officeDocument/2006/relationships/image" Target="../media/image5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0.xml"/><Relationship Id="rId6" Type="http://schemas.openxmlformats.org/officeDocument/2006/relationships/image" Target="../media/image53.jpeg"/><Relationship Id="rId5" Type="http://schemas.openxmlformats.org/officeDocument/2006/relationships/image" Target="../media/image52.jpeg"/><Relationship Id="rId4" Type="http://schemas.openxmlformats.org/officeDocument/2006/relationships/image" Target="../media/image51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0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58.jpeg"/><Relationship Id="rId7" Type="http://schemas.openxmlformats.org/officeDocument/2006/relationships/image" Target="../media/image6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0.xml"/><Relationship Id="rId6" Type="http://schemas.openxmlformats.org/officeDocument/2006/relationships/image" Target="../media/image54.png"/><Relationship Id="rId5" Type="http://schemas.openxmlformats.org/officeDocument/2006/relationships/image" Target="../media/image60.jpeg"/><Relationship Id="rId10" Type="http://schemas.openxmlformats.org/officeDocument/2006/relationships/image" Target="../media/image63.png"/><Relationship Id="rId4" Type="http://schemas.openxmlformats.org/officeDocument/2006/relationships/image" Target="../media/image59.png"/><Relationship Id="rId9" Type="http://schemas.openxmlformats.org/officeDocument/2006/relationships/image" Target="../media/image6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5167"/>
          <a:stretch/>
        </p:blipFill>
        <p:spPr>
          <a:xfrm>
            <a:off x="-939" y="-98932"/>
            <a:ext cx="12288027" cy="7330619"/>
          </a:xfrm>
          <a:prstGeom prst="rect">
            <a:avLst/>
          </a:prstGeom>
        </p:spPr>
      </p:pic>
      <p:sp>
        <p:nvSpPr>
          <p:cNvPr id="9" name="Rectangle 17"/>
          <p:cNvSpPr/>
          <p:nvPr/>
        </p:nvSpPr>
        <p:spPr>
          <a:xfrm>
            <a:off x="1" y="4309024"/>
            <a:ext cx="12287087" cy="1655968"/>
          </a:xfrm>
          <a:prstGeom prst="rect">
            <a:avLst/>
          </a:prstGeom>
          <a:gradFill flip="none" rotWithShape="1">
            <a:gsLst>
              <a:gs pos="100000">
                <a:srgbClr val="00AEAD">
                  <a:alpha val="80000"/>
                </a:srgbClr>
              </a:gs>
              <a:gs pos="40000">
                <a:srgbClr val="006C90">
                  <a:alpha val="80000"/>
                </a:srgbClr>
              </a:gs>
              <a:gs pos="0">
                <a:srgbClr val="00658D">
                  <a:alpha val="80000"/>
                </a:srgbClr>
              </a:gs>
            </a:gsLst>
            <a:lin ang="0" scaled="1"/>
            <a:tileRect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1428" tIns="45714" rIns="91428" bIns="4571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400" b="1">
              <a:solidFill>
                <a:schemeClr val="bg1"/>
              </a:solidFill>
              <a:latin typeface="Arial" panose="020B0604020202020204"/>
            </a:endParaRPr>
          </a:p>
        </p:txBody>
      </p:sp>
      <p:sp>
        <p:nvSpPr>
          <p:cNvPr id="10" name="TextBox 59"/>
          <p:cNvSpPr txBox="1"/>
          <p:nvPr/>
        </p:nvSpPr>
        <p:spPr>
          <a:xfrm>
            <a:off x="1142803" y="5115306"/>
            <a:ext cx="11504278" cy="3413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828251">
              <a:lnSpc>
                <a:spcPct val="80000"/>
              </a:lnSpc>
            </a:pPr>
            <a:r>
              <a:rPr lang="en-US" sz="200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D Environment Based Intelligent Systems Engineering of Advanced Systems (B.A.T.M.A.N.)</a:t>
            </a:r>
            <a:endParaRPr lang="de-DE" sz="200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Box 60"/>
          <p:cNvSpPr txBox="1"/>
          <p:nvPr/>
        </p:nvSpPr>
        <p:spPr>
          <a:xfrm>
            <a:off x="1142804" y="4503954"/>
            <a:ext cx="4403726" cy="5896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828251"/>
            <a:endParaRPr lang="de-DE" sz="160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1828251"/>
            <a:r>
              <a:rPr lang="de-DE" sz="160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ject Group – Kick Off</a:t>
            </a:r>
          </a:p>
        </p:txBody>
      </p:sp>
      <p:sp>
        <p:nvSpPr>
          <p:cNvPr id="12" name="Rectangle 61"/>
          <p:cNvSpPr/>
          <p:nvPr/>
        </p:nvSpPr>
        <p:spPr>
          <a:xfrm>
            <a:off x="1012776" y="4730576"/>
            <a:ext cx="71385" cy="1044571"/>
          </a:xfrm>
          <a:prstGeom prst="rect">
            <a:avLst/>
          </a:prstGeom>
          <a:solidFill>
            <a:sysClr val="window" lastClr="FFFFFF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1828251">
              <a:defRPr/>
            </a:pPr>
            <a:endParaRPr lang="en-US" sz="1600" ker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60"/>
          <p:cNvSpPr txBox="1"/>
          <p:nvPr/>
        </p:nvSpPr>
        <p:spPr>
          <a:xfrm>
            <a:off x="1157781" y="5176015"/>
            <a:ext cx="7817370" cy="5846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828251"/>
            <a:endParaRPr lang="de-DE" sz="160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1828251"/>
            <a:r>
              <a:rPr lang="de-DE" sz="1600" err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.Sc</a:t>
            </a:r>
            <a:r>
              <a:rPr lang="de-DE" sz="160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Sergej Japs, </a:t>
            </a:r>
            <a:r>
              <a:rPr lang="de-DE" sz="1600" err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.Sc</a:t>
            </a:r>
            <a:r>
              <a:rPr lang="de-DE" sz="160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Aschot </a:t>
            </a:r>
            <a:r>
              <a:rPr lang="de-DE" sz="1600" err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haratyan</a:t>
            </a:r>
            <a:endParaRPr lang="de-DE" sz="160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4387404" y="1469076"/>
            <a:ext cx="783677" cy="2480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4266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Short introduction from all project group participants</a:t>
            </a:r>
          </a:p>
          <a:p>
            <a:r>
              <a:rPr lang="en-US" i="1">
                <a:latin typeface="Arial" panose="020B0604020202020204" pitchFamily="34" charset="0"/>
                <a:cs typeface="Arial" panose="020B0604020202020204" pitchFamily="34" charset="0"/>
              </a:rPr>
              <a:t>Who are you?</a:t>
            </a:r>
          </a:p>
          <a:p>
            <a:endParaRPr lang="en-US" i="1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i="1">
                <a:latin typeface="Arial" panose="020B0604020202020204" pitchFamily="34" charset="0"/>
                <a:cs typeface="Arial" panose="020B0604020202020204" pitchFamily="34" charset="0"/>
              </a:rPr>
              <a:t>What have you done before?</a:t>
            </a:r>
          </a:p>
          <a:p>
            <a:endParaRPr lang="en-US" i="1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i="1">
                <a:latin typeface="Arial" panose="020B0604020202020204" pitchFamily="34" charset="0"/>
                <a:cs typeface="Arial" panose="020B0604020202020204" pitchFamily="34" charset="0"/>
              </a:rPr>
              <a:t>In which topics are you interested in?</a:t>
            </a:r>
          </a:p>
          <a:p>
            <a:endParaRPr lang="en-US" i="1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i="1">
                <a:latin typeface="Arial" panose="020B0604020202020204" pitchFamily="34" charset="0"/>
                <a:cs typeface="Arial" panose="020B0604020202020204" pitchFamily="34" charset="0"/>
              </a:rPr>
              <a:t>What do you want to learn in the project group?</a:t>
            </a:r>
          </a:p>
          <a:p>
            <a:endParaRPr lang="de-DE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itel 2"/>
          <p:cNvSpPr>
            <a:spLocks noGrp="1"/>
          </p:cNvSpPr>
          <p:nvPr>
            <p:ph type="title"/>
          </p:nvPr>
        </p:nvSpPr>
        <p:spPr>
          <a:xfrm>
            <a:off x="540000" y="432000"/>
            <a:ext cx="11109600" cy="792000"/>
          </a:xfrm>
        </p:spPr>
        <p:txBody>
          <a:bodyPr/>
          <a:lstStyle/>
          <a:p>
            <a:r>
              <a:rPr lang="de-DE"/>
              <a:t>Kick-Off</a:t>
            </a:r>
            <a:br>
              <a:rPr lang="de-DE"/>
            </a:br>
            <a:r>
              <a:rPr lang="de-DE" sz="2000" err="1">
                <a:solidFill>
                  <a:schemeClr val="accent1"/>
                </a:solidFill>
              </a:rPr>
              <a:t>Introduction</a:t>
            </a:r>
            <a:r>
              <a:rPr lang="de-DE" sz="2000">
                <a:solidFill>
                  <a:schemeClr val="accent1"/>
                </a:solidFill>
              </a:rPr>
              <a:t> </a:t>
            </a:r>
            <a:r>
              <a:rPr lang="de-DE" sz="2000" err="1">
                <a:solidFill>
                  <a:schemeClr val="accent1"/>
                </a:solidFill>
              </a:rPr>
              <a:t>of</a:t>
            </a:r>
            <a:r>
              <a:rPr lang="de-DE" sz="2000">
                <a:solidFill>
                  <a:schemeClr val="accent1"/>
                </a:solidFill>
              </a:rPr>
              <a:t> </a:t>
            </a:r>
            <a:r>
              <a:rPr lang="de-DE" sz="2000" err="1">
                <a:solidFill>
                  <a:schemeClr val="accent1"/>
                </a:solidFill>
              </a:rPr>
              <a:t>participants</a:t>
            </a:r>
            <a:endParaRPr lang="de-DE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919483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2C77B030-DC07-324B-B7BE-A9AE7C7004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B.A.T.M.A.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68CEBA8-FE3C-124C-BF6B-AAB3D6D21A1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err="1"/>
              <a:t>Organization</a:t>
            </a: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310BB5D-ABC8-984B-B97A-48F7EEBF36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© Heinz Nixdorf Institut / Fraunhofer IEM</a:t>
            </a:r>
          </a:p>
        </p:txBody>
      </p:sp>
      <p:pic>
        <p:nvPicPr>
          <p:cNvPr id="11" name="Inhaltsplatzhalter 10"/>
          <p:cNvPicPr>
            <a:picLocks noGrp="1" noChangeAspect="1"/>
          </p:cNvPicPr>
          <p:nvPr>
            <p:ph sz="quarter" idx="38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1388" y="6530168"/>
            <a:ext cx="11112" cy="7964"/>
          </a:xfrm>
        </p:spPr>
      </p:pic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12E70EB2-348E-2741-A3FB-ED684125EE2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5685BD5-7F70-499C-8F04-1460C72EE5D6}" type="slidenum">
              <a:rPr lang="de-DE" smtClean="0"/>
              <a:pPr/>
              <a:t>11</a:t>
            </a:fld>
            <a:endParaRPr lang="de-DE"/>
          </a:p>
        </p:txBody>
      </p:sp>
      <p:sp>
        <p:nvSpPr>
          <p:cNvPr id="6" name="Rechteck 5"/>
          <p:cNvSpPr/>
          <p:nvPr/>
        </p:nvSpPr>
        <p:spPr>
          <a:xfrm>
            <a:off x="0" y="1653675"/>
            <a:ext cx="12192000" cy="3885664"/>
          </a:xfrm>
          <a:prstGeom prst="rect">
            <a:avLst/>
          </a:prstGeom>
          <a:solidFill>
            <a:srgbClr val="E2E2E2"/>
          </a:solidFill>
          <a:ln>
            <a:noFill/>
          </a:ln>
        </p:spPr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Bef>
                <a:spcPct val="0"/>
              </a:spcBef>
              <a:spcAft>
                <a:spcPts val="1000"/>
              </a:spcAft>
            </a:pPr>
            <a:endParaRPr lang="de-DE" sz="1400" b="1"/>
          </a:p>
        </p:txBody>
      </p:sp>
      <p:sp>
        <p:nvSpPr>
          <p:cNvPr id="10" name="Chevron 9"/>
          <p:cNvSpPr/>
          <p:nvPr/>
        </p:nvSpPr>
        <p:spPr>
          <a:xfrm>
            <a:off x="511545" y="3526769"/>
            <a:ext cx="1153629" cy="607282"/>
          </a:xfrm>
          <a:prstGeom prst="chevron">
            <a:avLst>
              <a:gd name="adj" fmla="val 28603"/>
            </a:avLst>
          </a:prstGeom>
          <a:solidFill>
            <a:schemeClr val="tx2"/>
          </a:solidFill>
          <a:ln>
            <a:noFill/>
          </a:ln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Bef>
                <a:spcPct val="0"/>
              </a:spcBef>
              <a:spcAft>
                <a:spcPts val="1000"/>
              </a:spcAft>
            </a:pPr>
            <a:r>
              <a:rPr lang="de-DE" sz="1200">
                <a:solidFill>
                  <a:schemeClr val="bg1"/>
                </a:solidFill>
                <a:latin typeface="+mj-lt"/>
              </a:rPr>
              <a:t>Set </a:t>
            </a:r>
            <a:r>
              <a:rPr lang="de-DE" sz="1200" err="1">
                <a:solidFill>
                  <a:schemeClr val="bg1"/>
                </a:solidFill>
                <a:latin typeface="+mj-lt"/>
              </a:rPr>
              <a:t>up</a:t>
            </a:r>
            <a:endParaRPr lang="de-DE" sz="120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2" name="Chevron 21"/>
          <p:cNvSpPr/>
          <p:nvPr/>
        </p:nvSpPr>
        <p:spPr>
          <a:xfrm>
            <a:off x="1607329" y="3526769"/>
            <a:ext cx="1198435" cy="607282"/>
          </a:xfrm>
          <a:prstGeom prst="chevron">
            <a:avLst>
              <a:gd name="adj" fmla="val 25433"/>
            </a:avLst>
          </a:prstGeom>
          <a:solidFill>
            <a:schemeClr val="tx2"/>
          </a:solidFill>
          <a:ln>
            <a:noFill/>
          </a:ln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1000"/>
              </a:spcAft>
            </a:pPr>
            <a:r>
              <a:rPr lang="de-DE" sz="1200">
                <a:solidFill>
                  <a:schemeClr val="bg1"/>
                </a:solidFill>
                <a:latin typeface="+mj-lt"/>
              </a:rPr>
              <a:t>Research </a:t>
            </a:r>
            <a:r>
              <a:rPr lang="de-DE" sz="1200" err="1">
                <a:solidFill>
                  <a:schemeClr val="bg1"/>
                </a:solidFill>
                <a:latin typeface="+mj-lt"/>
              </a:rPr>
              <a:t>and</a:t>
            </a:r>
            <a:r>
              <a:rPr lang="de-DE" sz="1200">
                <a:solidFill>
                  <a:schemeClr val="bg1"/>
                </a:solidFill>
                <a:latin typeface="+mj-lt"/>
              </a:rPr>
              <a:t> </a:t>
            </a:r>
            <a:r>
              <a:rPr lang="de-DE" sz="1200" err="1">
                <a:solidFill>
                  <a:schemeClr val="bg1"/>
                </a:solidFill>
                <a:latin typeface="+mj-lt"/>
              </a:rPr>
              <a:t>training</a:t>
            </a:r>
            <a:endParaRPr lang="de-DE" sz="120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3" name="Chevron 22"/>
          <p:cNvSpPr/>
          <p:nvPr/>
        </p:nvSpPr>
        <p:spPr>
          <a:xfrm>
            <a:off x="2757638" y="3526769"/>
            <a:ext cx="8591929" cy="607282"/>
          </a:xfrm>
          <a:prstGeom prst="chevron">
            <a:avLst>
              <a:gd name="adj" fmla="val 23848"/>
            </a:avLst>
          </a:prstGeom>
          <a:solidFill>
            <a:schemeClr val="tx2"/>
          </a:solidFill>
          <a:ln>
            <a:noFill/>
          </a:ln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1000"/>
              </a:spcAft>
            </a:pPr>
            <a:r>
              <a:rPr lang="de-DE" sz="1200">
                <a:solidFill>
                  <a:schemeClr val="bg1"/>
                </a:solidFill>
                <a:latin typeface="+mj-lt"/>
              </a:rPr>
              <a:t>Development: </a:t>
            </a:r>
            <a:r>
              <a:rPr lang="de-DE" sz="1200" err="1">
                <a:solidFill>
                  <a:schemeClr val="bg1"/>
                </a:solidFill>
                <a:latin typeface="+mj-lt"/>
              </a:rPr>
              <a:t>Architecture</a:t>
            </a:r>
            <a:r>
              <a:rPr lang="de-DE" sz="1200">
                <a:solidFill>
                  <a:schemeClr val="bg1"/>
                </a:solidFill>
                <a:latin typeface="+mj-lt"/>
              </a:rPr>
              <a:t>, Software, </a:t>
            </a:r>
            <a:r>
              <a:rPr lang="de-DE" sz="1200" err="1">
                <a:solidFill>
                  <a:schemeClr val="bg1"/>
                </a:solidFill>
                <a:latin typeface="+mj-lt"/>
              </a:rPr>
              <a:t>Documentation</a:t>
            </a:r>
            <a:r>
              <a:rPr lang="de-DE" sz="1200">
                <a:solidFill>
                  <a:schemeClr val="bg1"/>
                </a:solidFill>
                <a:latin typeface="+mj-lt"/>
              </a:rPr>
              <a:t> etc.</a:t>
            </a:r>
          </a:p>
        </p:txBody>
      </p:sp>
      <p:sp>
        <p:nvSpPr>
          <p:cNvPr id="13" name="Raute 12"/>
          <p:cNvSpPr/>
          <p:nvPr/>
        </p:nvSpPr>
        <p:spPr>
          <a:xfrm>
            <a:off x="1315649" y="4219222"/>
            <a:ext cx="348252" cy="348252"/>
          </a:xfrm>
          <a:prstGeom prst="diamond">
            <a:avLst/>
          </a:prstGeom>
          <a:solidFill>
            <a:srgbClr val="003A80"/>
          </a:solidFill>
          <a:ln>
            <a:noFill/>
          </a:ln>
        </p:spPr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Bef>
                <a:spcPct val="0"/>
              </a:spcBef>
              <a:spcAft>
                <a:spcPts val="1000"/>
              </a:spcAft>
            </a:pPr>
            <a:endParaRPr lang="de-DE" sz="1600" b="1" err="1"/>
          </a:p>
        </p:txBody>
      </p:sp>
      <p:sp>
        <p:nvSpPr>
          <p:cNvPr id="33" name="Textfeld 32"/>
          <p:cNvSpPr txBox="1"/>
          <p:nvPr/>
        </p:nvSpPr>
        <p:spPr>
          <a:xfrm>
            <a:off x="544363" y="4641271"/>
            <a:ext cx="1515444" cy="553998"/>
          </a:xfrm>
          <a:prstGeom prst="rect">
            <a:avLst/>
          </a:prstGeom>
        </p:spPr>
        <p:txBody>
          <a:bodyPr wrap="square" lIns="0" tIns="0" rIns="0" bIns="0" rtlCol="0" anchor="t" anchorCtr="0">
            <a:spAutoFit/>
          </a:bodyPr>
          <a:lstStyle/>
          <a:p>
            <a:pPr algn="ctr"/>
            <a:r>
              <a:rPr lang="en-US" sz="1200"/>
              <a:t>Groups, IT infrastructure, topics and work mode</a:t>
            </a:r>
            <a:endParaRPr lang="de-DE" sz="1600"/>
          </a:p>
        </p:txBody>
      </p:sp>
      <p:sp>
        <p:nvSpPr>
          <p:cNvPr id="16" name="Ellipse 15"/>
          <p:cNvSpPr/>
          <p:nvPr/>
        </p:nvSpPr>
        <p:spPr>
          <a:xfrm>
            <a:off x="517897" y="3244607"/>
            <a:ext cx="224366" cy="224366"/>
          </a:xfrm>
          <a:prstGeom prst="ellipse">
            <a:avLst/>
          </a:prstGeom>
          <a:solidFill>
            <a:srgbClr val="003A80"/>
          </a:solidFill>
          <a:ln>
            <a:noFill/>
          </a:ln>
        </p:spPr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1000"/>
              </a:spcAft>
            </a:pPr>
            <a:endParaRPr lang="de-DE" sz="1600" b="1" err="1"/>
          </a:p>
        </p:txBody>
      </p:sp>
      <p:sp>
        <p:nvSpPr>
          <p:cNvPr id="35" name="Textfeld 34"/>
          <p:cNvSpPr txBox="1"/>
          <p:nvPr/>
        </p:nvSpPr>
        <p:spPr>
          <a:xfrm>
            <a:off x="494657" y="2921429"/>
            <a:ext cx="434991" cy="184666"/>
          </a:xfrm>
          <a:prstGeom prst="rect">
            <a:avLst/>
          </a:prstGeom>
        </p:spPr>
        <p:txBody>
          <a:bodyPr wrap="none" lIns="0" tIns="0" rIns="0" bIns="0" rtlCol="0" anchor="t" anchorCtr="0">
            <a:spAutoFit/>
          </a:bodyPr>
          <a:lstStyle/>
          <a:p>
            <a:pPr marL="0" indent="0" algn="l">
              <a:buNone/>
            </a:pPr>
            <a:r>
              <a:rPr lang="de-DE" sz="1200"/>
              <a:t>Topics</a:t>
            </a:r>
            <a:endParaRPr lang="de-DE" sz="1600"/>
          </a:p>
        </p:txBody>
      </p:sp>
      <p:sp>
        <p:nvSpPr>
          <p:cNvPr id="36" name="Ellipse 35"/>
          <p:cNvSpPr/>
          <p:nvPr/>
        </p:nvSpPr>
        <p:spPr>
          <a:xfrm>
            <a:off x="1602946" y="3244607"/>
            <a:ext cx="224366" cy="224366"/>
          </a:xfrm>
          <a:prstGeom prst="ellipse">
            <a:avLst/>
          </a:prstGeom>
          <a:solidFill>
            <a:srgbClr val="003A80"/>
          </a:solidFill>
          <a:ln>
            <a:noFill/>
          </a:ln>
        </p:spPr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1000"/>
              </a:spcAft>
            </a:pPr>
            <a:endParaRPr lang="de-DE" sz="1600" b="1" err="1"/>
          </a:p>
        </p:txBody>
      </p:sp>
      <p:sp>
        <p:nvSpPr>
          <p:cNvPr id="37" name="Textfeld 36"/>
          <p:cNvSpPr txBox="1"/>
          <p:nvPr/>
        </p:nvSpPr>
        <p:spPr>
          <a:xfrm>
            <a:off x="1218692" y="2829096"/>
            <a:ext cx="982642" cy="369332"/>
          </a:xfrm>
          <a:prstGeom prst="rect">
            <a:avLst/>
          </a:prstGeom>
        </p:spPr>
        <p:txBody>
          <a:bodyPr wrap="square" lIns="0" tIns="0" rIns="0" bIns="0" rtlCol="0" anchor="t" anchorCtr="0">
            <a:spAutoFit/>
          </a:bodyPr>
          <a:lstStyle/>
          <a:p>
            <a:pPr marL="0" indent="0" algn="ctr">
              <a:buNone/>
            </a:pPr>
            <a:r>
              <a:rPr lang="de-DE" sz="1200"/>
              <a:t>Features </a:t>
            </a:r>
            <a:r>
              <a:rPr lang="de-DE" sz="1200" err="1"/>
              <a:t>and</a:t>
            </a:r>
            <a:r>
              <a:rPr lang="de-DE" sz="1200"/>
              <a:t> </a:t>
            </a:r>
            <a:r>
              <a:rPr lang="de-DE" sz="1200" err="1"/>
              <a:t>Restrictions</a:t>
            </a:r>
            <a:endParaRPr lang="de-DE" sz="1600"/>
          </a:p>
        </p:txBody>
      </p:sp>
      <p:sp>
        <p:nvSpPr>
          <p:cNvPr id="38" name="Raute 37"/>
          <p:cNvSpPr/>
          <p:nvPr/>
        </p:nvSpPr>
        <p:spPr>
          <a:xfrm>
            <a:off x="2616329" y="4219222"/>
            <a:ext cx="348252" cy="348252"/>
          </a:xfrm>
          <a:prstGeom prst="diamond">
            <a:avLst/>
          </a:prstGeom>
          <a:solidFill>
            <a:srgbClr val="003A80"/>
          </a:solidFill>
          <a:ln>
            <a:noFill/>
          </a:ln>
        </p:spPr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Bef>
                <a:spcPct val="0"/>
              </a:spcBef>
              <a:spcAft>
                <a:spcPts val="1000"/>
              </a:spcAft>
            </a:pPr>
            <a:endParaRPr lang="de-DE" sz="1600" b="1" err="1"/>
          </a:p>
        </p:txBody>
      </p:sp>
      <p:sp>
        <p:nvSpPr>
          <p:cNvPr id="39" name="Textfeld 38"/>
          <p:cNvSpPr txBox="1"/>
          <p:nvPr/>
        </p:nvSpPr>
        <p:spPr>
          <a:xfrm>
            <a:off x="2401668" y="4631646"/>
            <a:ext cx="1268464" cy="553998"/>
          </a:xfrm>
          <a:prstGeom prst="rect">
            <a:avLst/>
          </a:prstGeom>
        </p:spPr>
        <p:txBody>
          <a:bodyPr wrap="square" lIns="0" tIns="0" rIns="0" bIns="0" rtlCol="0" anchor="t" anchorCtr="0">
            <a:spAutoFit/>
          </a:bodyPr>
          <a:lstStyle/>
          <a:p>
            <a:pPr marL="0" indent="0" algn="ctr">
              <a:buNone/>
            </a:pPr>
            <a:r>
              <a:rPr lang="de-DE" sz="1200" err="1"/>
              <a:t>Presentation</a:t>
            </a:r>
            <a:r>
              <a:rPr lang="de-DE" sz="1200"/>
              <a:t> of </a:t>
            </a:r>
            <a:r>
              <a:rPr lang="de-DE" sz="1200" err="1"/>
              <a:t>research</a:t>
            </a:r>
            <a:r>
              <a:rPr lang="de-DE" sz="1200"/>
              <a:t> </a:t>
            </a:r>
            <a:r>
              <a:rPr lang="de-DE" sz="1200" err="1"/>
              <a:t>results</a:t>
            </a:r>
            <a:r>
              <a:rPr lang="de-DE" sz="1200"/>
              <a:t> </a:t>
            </a:r>
            <a:r>
              <a:rPr lang="de-DE" sz="1200" err="1"/>
              <a:t>and</a:t>
            </a:r>
            <a:r>
              <a:rPr lang="de-DE" sz="1200"/>
              <a:t> </a:t>
            </a:r>
            <a:r>
              <a:rPr lang="de-DE" sz="1200" err="1"/>
              <a:t>demonstrators</a:t>
            </a:r>
            <a:endParaRPr lang="de-DE" sz="1200"/>
          </a:p>
        </p:txBody>
      </p:sp>
      <p:cxnSp>
        <p:nvCxnSpPr>
          <p:cNvPr id="19" name="Gerade Verbindung mit Pfeil 18"/>
          <p:cNvCxnSpPr/>
          <p:nvPr/>
        </p:nvCxnSpPr>
        <p:spPr>
          <a:xfrm>
            <a:off x="554567" y="2533012"/>
            <a:ext cx="11032066" cy="0"/>
          </a:xfrm>
          <a:prstGeom prst="straightConnector1">
            <a:avLst/>
          </a:prstGeom>
          <a:ln w="76200" cap="flat">
            <a:solidFill>
              <a:schemeClr val="bg2">
                <a:lumMod val="50000"/>
              </a:schemeClr>
            </a:solidFill>
            <a:miter lim="800000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Gerader Verbinder 48"/>
          <p:cNvCxnSpPr/>
          <p:nvPr/>
        </p:nvCxnSpPr>
        <p:spPr>
          <a:xfrm>
            <a:off x="6041412" y="2105446"/>
            <a:ext cx="0" cy="584199"/>
          </a:xfrm>
          <a:prstGeom prst="line">
            <a:avLst/>
          </a:prstGeom>
          <a:ln w="38100" cap="flat">
            <a:solidFill>
              <a:schemeClr val="bg2">
                <a:lumMod val="50000"/>
              </a:schemeClr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feld 49"/>
          <p:cNvSpPr txBox="1"/>
          <p:nvPr/>
        </p:nvSpPr>
        <p:spPr>
          <a:xfrm>
            <a:off x="11624416" y="2407519"/>
            <a:ext cx="507639" cy="215444"/>
          </a:xfrm>
          <a:prstGeom prst="rect">
            <a:avLst/>
          </a:prstGeom>
        </p:spPr>
        <p:txBody>
          <a:bodyPr wrap="none" lIns="0" tIns="0" rIns="0" bIns="0" rtlCol="0" anchor="t" anchorCtr="0">
            <a:spAutoFit/>
          </a:bodyPr>
          <a:lstStyle/>
          <a:p>
            <a:pPr marL="0" indent="0" algn="l">
              <a:buNone/>
            </a:pPr>
            <a:r>
              <a:rPr lang="de-DE" sz="1400"/>
              <a:t>1 Year</a:t>
            </a:r>
          </a:p>
        </p:txBody>
      </p:sp>
      <p:sp>
        <p:nvSpPr>
          <p:cNvPr id="51" name="Textfeld 50"/>
          <p:cNvSpPr txBox="1"/>
          <p:nvPr/>
        </p:nvSpPr>
        <p:spPr>
          <a:xfrm>
            <a:off x="3107395" y="2080260"/>
            <a:ext cx="965008" cy="215444"/>
          </a:xfrm>
          <a:prstGeom prst="rect">
            <a:avLst/>
          </a:prstGeom>
        </p:spPr>
        <p:txBody>
          <a:bodyPr wrap="none" lIns="0" tIns="0" rIns="0" bIns="0" rtlCol="0" anchor="t" anchorCtr="0">
            <a:spAutoFit/>
          </a:bodyPr>
          <a:lstStyle/>
          <a:p>
            <a:pPr marL="0" indent="0" algn="l">
              <a:buNone/>
            </a:pPr>
            <a:r>
              <a:rPr lang="de-DE" sz="1400"/>
              <a:t>1. Semester</a:t>
            </a:r>
          </a:p>
        </p:txBody>
      </p:sp>
      <p:sp>
        <p:nvSpPr>
          <p:cNvPr id="52" name="Textfeld 51"/>
          <p:cNvSpPr txBox="1"/>
          <p:nvPr/>
        </p:nvSpPr>
        <p:spPr>
          <a:xfrm>
            <a:off x="7943465" y="2080260"/>
            <a:ext cx="965008" cy="215444"/>
          </a:xfrm>
          <a:prstGeom prst="rect">
            <a:avLst/>
          </a:prstGeom>
        </p:spPr>
        <p:txBody>
          <a:bodyPr wrap="none" lIns="0" tIns="0" rIns="0" bIns="0" rtlCol="0" anchor="t" anchorCtr="0">
            <a:spAutoFit/>
          </a:bodyPr>
          <a:lstStyle/>
          <a:p>
            <a:pPr marL="0" indent="0" algn="l">
              <a:buNone/>
            </a:pPr>
            <a:r>
              <a:rPr lang="de-DE" sz="1400"/>
              <a:t>2. Semester</a:t>
            </a:r>
          </a:p>
        </p:txBody>
      </p:sp>
      <p:sp>
        <p:nvSpPr>
          <p:cNvPr id="91" name="Cube 90"/>
          <p:cNvSpPr/>
          <p:nvPr/>
        </p:nvSpPr>
        <p:spPr>
          <a:xfrm>
            <a:off x="5800625" y="2353662"/>
            <a:ext cx="393700" cy="393700"/>
          </a:xfrm>
          <a:prstGeom prst="cube">
            <a:avLst/>
          </a:prstGeom>
          <a:solidFill>
            <a:srgbClr val="003A80"/>
          </a:solidFill>
          <a:ln>
            <a:noFill/>
          </a:ln>
        </p:spPr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Bef>
                <a:spcPct val="0"/>
              </a:spcBef>
              <a:spcAft>
                <a:spcPts val="1000"/>
              </a:spcAft>
            </a:pPr>
            <a:endParaRPr lang="de-DE" sz="1600" b="1" err="1"/>
          </a:p>
        </p:txBody>
      </p:sp>
      <p:sp>
        <p:nvSpPr>
          <p:cNvPr id="92" name="Cube 91"/>
          <p:cNvSpPr/>
          <p:nvPr/>
        </p:nvSpPr>
        <p:spPr>
          <a:xfrm>
            <a:off x="3334263" y="2353662"/>
            <a:ext cx="393700" cy="393700"/>
          </a:xfrm>
          <a:prstGeom prst="cube">
            <a:avLst/>
          </a:prstGeom>
          <a:solidFill>
            <a:srgbClr val="003A80"/>
          </a:solidFill>
          <a:ln>
            <a:noFill/>
          </a:ln>
        </p:spPr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Bef>
                <a:spcPct val="0"/>
              </a:spcBef>
              <a:spcAft>
                <a:spcPts val="1000"/>
              </a:spcAft>
            </a:pPr>
            <a:endParaRPr lang="de-DE" sz="1600" b="1" err="1"/>
          </a:p>
        </p:txBody>
      </p:sp>
      <p:sp>
        <p:nvSpPr>
          <p:cNvPr id="93" name="Cube 92"/>
          <p:cNvSpPr/>
          <p:nvPr/>
        </p:nvSpPr>
        <p:spPr>
          <a:xfrm>
            <a:off x="8281425" y="2353662"/>
            <a:ext cx="393700" cy="393700"/>
          </a:xfrm>
          <a:prstGeom prst="cube">
            <a:avLst/>
          </a:prstGeom>
          <a:solidFill>
            <a:srgbClr val="003A80"/>
          </a:solidFill>
          <a:ln>
            <a:noFill/>
          </a:ln>
        </p:spPr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Bef>
                <a:spcPct val="0"/>
              </a:spcBef>
              <a:spcAft>
                <a:spcPts val="1000"/>
              </a:spcAft>
            </a:pPr>
            <a:endParaRPr lang="de-DE" sz="1600" b="1" err="1"/>
          </a:p>
        </p:txBody>
      </p:sp>
      <p:sp>
        <p:nvSpPr>
          <p:cNvPr id="94" name="Ellipse 93"/>
          <p:cNvSpPr/>
          <p:nvPr/>
        </p:nvSpPr>
        <p:spPr>
          <a:xfrm>
            <a:off x="2800133" y="3244607"/>
            <a:ext cx="224366" cy="224366"/>
          </a:xfrm>
          <a:prstGeom prst="ellipse">
            <a:avLst/>
          </a:prstGeom>
          <a:solidFill>
            <a:srgbClr val="003A80"/>
          </a:solidFill>
          <a:ln>
            <a:noFill/>
          </a:ln>
        </p:spPr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1000"/>
              </a:spcAft>
            </a:pPr>
            <a:endParaRPr lang="de-DE" sz="1600" b="1" err="1"/>
          </a:p>
        </p:txBody>
      </p:sp>
      <p:sp>
        <p:nvSpPr>
          <p:cNvPr id="95" name="Textfeld 94"/>
          <p:cNvSpPr txBox="1"/>
          <p:nvPr/>
        </p:nvSpPr>
        <p:spPr>
          <a:xfrm>
            <a:off x="2430464" y="2829096"/>
            <a:ext cx="963703" cy="369332"/>
          </a:xfrm>
          <a:prstGeom prst="rect">
            <a:avLst/>
          </a:prstGeom>
        </p:spPr>
        <p:txBody>
          <a:bodyPr wrap="square" lIns="0" tIns="0" rIns="0" bIns="0" rtlCol="0" anchor="t" anchorCtr="0">
            <a:spAutoFit/>
          </a:bodyPr>
          <a:lstStyle/>
          <a:p>
            <a:pPr algn="ctr"/>
            <a:r>
              <a:rPr lang="de-DE" sz="1200" err="1"/>
              <a:t>Continuous</a:t>
            </a:r>
            <a:r>
              <a:rPr lang="de-DE" sz="1200"/>
              <a:t> User Stories</a:t>
            </a:r>
            <a:endParaRPr lang="de-DE" sz="1600"/>
          </a:p>
        </p:txBody>
      </p:sp>
      <p:sp>
        <p:nvSpPr>
          <p:cNvPr id="97" name="Raute 96"/>
          <p:cNvSpPr/>
          <p:nvPr/>
        </p:nvSpPr>
        <p:spPr>
          <a:xfrm>
            <a:off x="10906603" y="4239815"/>
            <a:ext cx="393700" cy="393700"/>
          </a:xfrm>
          <a:prstGeom prst="diamond">
            <a:avLst/>
          </a:prstGeom>
          <a:solidFill>
            <a:srgbClr val="003A80"/>
          </a:solidFill>
          <a:ln>
            <a:noFill/>
          </a:ln>
        </p:spPr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Bef>
                <a:spcPct val="0"/>
              </a:spcBef>
              <a:spcAft>
                <a:spcPts val="1000"/>
              </a:spcAft>
            </a:pPr>
            <a:endParaRPr lang="de-DE" sz="1600" b="1" err="1"/>
          </a:p>
        </p:txBody>
      </p:sp>
      <p:sp>
        <p:nvSpPr>
          <p:cNvPr id="98" name="Textfeld 97"/>
          <p:cNvSpPr txBox="1"/>
          <p:nvPr/>
        </p:nvSpPr>
        <p:spPr>
          <a:xfrm>
            <a:off x="10536848" y="4684588"/>
            <a:ext cx="1133210" cy="553998"/>
          </a:xfrm>
          <a:prstGeom prst="rect">
            <a:avLst/>
          </a:prstGeom>
        </p:spPr>
        <p:txBody>
          <a:bodyPr wrap="square" lIns="0" tIns="0" rIns="0" bIns="0" rtlCol="0" anchor="t" anchorCtr="0">
            <a:spAutoFit/>
          </a:bodyPr>
          <a:lstStyle/>
          <a:p>
            <a:pPr marL="0" indent="0" algn="ctr">
              <a:buNone/>
            </a:pPr>
            <a:r>
              <a:rPr lang="de-DE" sz="1200"/>
              <a:t>Final </a:t>
            </a:r>
            <a:r>
              <a:rPr lang="de-DE" sz="1200" err="1"/>
              <a:t>presentation</a:t>
            </a:r>
            <a:r>
              <a:rPr lang="de-DE" sz="1200"/>
              <a:t> </a:t>
            </a:r>
            <a:r>
              <a:rPr lang="de-DE" sz="1200" err="1"/>
              <a:t>and</a:t>
            </a:r>
            <a:r>
              <a:rPr lang="de-DE" sz="1200"/>
              <a:t> </a:t>
            </a:r>
            <a:r>
              <a:rPr lang="de-DE" sz="1200" err="1"/>
              <a:t>submission</a:t>
            </a:r>
            <a:endParaRPr lang="de-DE" sz="1600"/>
          </a:p>
        </p:txBody>
      </p:sp>
      <p:sp>
        <p:nvSpPr>
          <p:cNvPr id="100" name="Cube 99"/>
          <p:cNvSpPr/>
          <p:nvPr/>
        </p:nvSpPr>
        <p:spPr>
          <a:xfrm>
            <a:off x="10906604" y="2353662"/>
            <a:ext cx="393700" cy="393700"/>
          </a:xfrm>
          <a:prstGeom prst="cube">
            <a:avLst/>
          </a:prstGeom>
          <a:solidFill>
            <a:srgbClr val="003A80"/>
          </a:solidFill>
          <a:ln>
            <a:noFill/>
          </a:ln>
        </p:spPr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Bef>
                <a:spcPct val="0"/>
              </a:spcBef>
              <a:spcAft>
                <a:spcPts val="1000"/>
              </a:spcAft>
            </a:pPr>
            <a:endParaRPr lang="de-DE" sz="1600" b="1" err="1"/>
          </a:p>
        </p:txBody>
      </p:sp>
      <p:sp>
        <p:nvSpPr>
          <p:cNvPr id="101" name="Textfeld 100"/>
          <p:cNvSpPr txBox="1"/>
          <p:nvPr/>
        </p:nvSpPr>
        <p:spPr>
          <a:xfrm>
            <a:off x="537054" y="1743367"/>
            <a:ext cx="1332096" cy="215444"/>
          </a:xfrm>
          <a:prstGeom prst="rect">
            <a:avLst/>
          </a:prstGeom>
        </p:spPr>
        <p:txBody>
          <a:bodyPr wrap="none" lIns="0" tIns="0" rIns="0" bIns="0" rtlCol="0" anchor="t" anchorCtr="0">
            <a:spAutoFit/>
          </a:bodyPr>
          <a:lstStyle/>
          <a:p>
            <a:pPr marL="0" indent="0" algn="l">
              <a:buNone/>
            </a:pPr>
            <a:r>
              <a:rPr lang="de-DE" sz="1400" b="1" err="1"/>
              <a:t>Macro</a:t>
            </a:r>
            <a:r>
              <a:rPr lang="de-DE" sz="1400" b="1"/>
              <a:t> </a:t>
            </a:r>
            <a:r>
              <a:rPr lang="de-DE" sz="1400" b="1" err="1"/>
              <a:t>Planning</a:t>
            </a:r>
            <a:endParaRPr lang="de-DE" sz="1400" b="1"/>
          </a:p>
        </p:txBody>
      </p:sp>
      <p:sp>
        <p:nvSpPr>
          <p:cNvPr id="102" name="Ellipse 101"/>
          <p:cNvSpPr/>
          <p:nvPr/>
        </p:nvSpPr>
        <p:spPr>
          <a:xfrm>
            <a:off x="517897" y="5789123"/>
            <a:ext cx="224366" cy="224366"/>
          </a:xfrm>
          <a:prstGeom prst="ellipse">
            <a:avLst/>
          </a:prstGeom>
          <a:solidFill>
            <a:srgbClr val="003A80"/>
          </a:solidFill>
          <a:ln>
            <a:noFill/>
          </a:ln>
        </p:spPr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1000"/>
              </a:spcAft>
            </a:pPr>
            <a:endParaRPr lang="de-DE" sz="1400" b="1" err="1"/>
          </a:p>
        </p:txBody>
      </p:sp>
      <p:sp>
        <p:nvSpPr>
          <p:cNvPr id="103" name="Raute 102"/>
          <p:cNvSpPr/>
          <p:nvPr/>
        </p:nvSpPr>
        <p:spPr>
          <a:xfrm>
            <a:off x="1420424" y="5727180"/>
            <a:ext cx="348252" cy="348252"/>
          </a:xfrm>
          <a:prstGeom prst="diamond">
            <a:avLst/>
          </a:prstGeom>
          <a:solidFill>
            <a:srgbClr val="003A80"/>
          </a:solidFill>
          <a:ln>
            <a:noFill/>
          </a:ln>
        </p:spPr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Bef>
                <a:spcPct val="0"/>
              </a:spcBef>
              <a:spcAft>
                <a:spcPts val="1000"/>
              </a:spcAft>
            </a:pPr>
            <a:endParaRPr lang="de-DE" sz="1600" b="1" err="1"/>
          </a:p>
        </p:txBody>
      </p:sp>
      <p:sp>
        <p:nvSpPr>
          <p:cNvPr id="106" name="Textfeld 105"/>
          <p:cNvSpPr txBox="1"/>
          <p:nvPr/>
        </p:nvSpPr>
        <p:spPr>
          <a:xfrm>
            <a:off x="785234" y="5816668"/>
            <a:ext cx="312586" cy="169277"/>
          </a:xfrm>
          <a:prstGeom prst="rect">
            <a:avLst/>
          </a:prstGeom>
        </p:spPr>
        <p:txBody>
          <a:bodyPr wrap="none" lIns="0" tIns="0" rIns="0" bIns="0" rtlCol="0" anchor="t" anchorCtr="0">
            <a:spAutoFit/>
          </a:bodyPr>
          <a:lstStyle/>
          <a:p>
            <a:pPr marL="0" indent="0" algn="l">
              <a:buNone/>
            </a:pPr>
            <a:r>
              <a:rPr lang="de-DE" sz="1100"/>
              <a:t>Input</a:t>
            </a:r>
            <a:endParaRPr lang="de-DE" sz="1400"/>
          </a:p>
        </p:txBody>
      </p:sp>
      <p:sp>
        <p:nvSpPr>
          <p:cNvPr id="107" name="Textfeld 106"/>
          <p:cNvSpPr txBox="1"/>
          <p:nvPr/>
        </p:nvSpPr>
        <p:spPr>
          <a:xfrm>
            <a:off x="1827312" y="5816668"/>
            <a:ext cx="421590" cy="169277"/>
          </a:xfrm>
          <a:prstGeom prst="rect">
            <a:avLst/>
          </a:prstGeom>
        </p:spPr>
        <p:txBody>
          <a:bodyPr wrap="none" lIns="0" tIns="0" rIns="0" bIns="0" rtlCol="0" anchor="t" anchorCtr="0">
            <a:spAutoFit/>
          </a:bodyPr>
          <a:lstStyle/>
          <a:p>
            <a:pPr marL="0" indent="0" algn="l">
              <a:buNone/>
            </a:pPr>
            <a:r>
              <a:rPr lang="de-DE" sz="1100"/>
              <a:t>Output</a:t>
            </a:r>
            <a:endParaRPr lang="de-DE" sz="1400"/>
          </a:p>
        </p:txBody>
      </p:sp>
      <p:sp>
        <p:nvSpPr>
          <p:cNvPr id="108" name="Cube 107"/>
          <p:cNvSpPr/>
          <p:nvPr/>
        </p:nvSpPr>
        <p:spPr>
          <a:xfrm>
            <a:off x="2760974" y="5728009"/>
            <a:ext cx="346595" cy="346595"/>
          </a:xfrm>
          <a:prstGeom prst="cube">
            <a:avLst/>
          </a:prstGeom>
          <a:solidFill>
            <a:srgbClr val="003A80"/>
          </a:solidFill>
          <a:ln>
            <a:noFill/>
          </a:ln>
        </p:spPr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Bef>
                <a:spcPct val="0"/>
              </a:spcBef>
              <a:spcAft>
                <a:spcPts val="1000"/>
              </a:spcAft>
            </a:pPr>
            <a:endParaRPr lang="de-DE" sz="1600" b="1" err="1"/>
          </a:p>
        </p:txBody>
      </p:sp>
      <p:sp>
        <p:nvSpPr>
          <p:cNvPr id="109" name="Textfeld 108"/>
          <p:cNvSpPr txBox="1"/>
          <p:nvPr/>
        </p:nvSpPr>
        <p:spPr>
          <a:xfrm>
            <a:off x="3163334" y="5816668"/>
            <a:ext cx="4799391" cy="169277"/>
          </a:xfrm>
          <a:prstGeom prst="rect">
            <a:avLst/>
          </a:prstGeom>
        </p:spPr>
        <p:txBody>
          <a:bodyPr wrap="none" lIns="0" tIns="0" rIns="0" bIns="0" rtlCol="0" anchor="t" anchorCtr="0">
            <a:spAutoFit/>
          </a:bodyPr>
          <a:lstStyle/>
          <a:p>
            <a:pPr marL="0" indent="0" algn="l">
              <a:buNone/>
            </a:pPr>
            <a:r>
              <a:rPr lang="de-DE" sz="1100" err="1"/>
              <a:t>Consolidated</a:t>
            </a:r>
            <a:r>
              <a:rPr lang="de-DE" sz="1100"/>
              <a:t> </a:t>
            </a:r>
            <a:r>
              <a:rPr lang="de-DE" sz="1100" err="1"/>
              <a:t>results</a:t>
            </a:r>
            <a:r>
              <a:rPr lang="de-DE" sz="1100"/>
              <a:t> </a:t>
            </a:r>
            <a:r>
              <a:rPr lang="de-DE" sz="1100" err="1"/>
              <a:t>that</a:t>
            </a:r>
            <a:r>
              <a:rPr lang="de-DE" sz="1100"/>
              <a:t> </a:t>
            </a:r>
            <a:r>
              <a:rPr lang="de-DE" sz="1100" err="1"/>
              <a:t>have</a:t>
            </a:r>
            <a:r>
              <a:rPr lang="de-DE" sz="1100"/>
              <a:t> </a:t>
            </a:r>
            <a:r>
              <a:rPr lang="de-DE" sz="1100" err="1"/>
              <a:t>to</a:t>
            </a:r>
            <a:r>
              <a:rPr lang="de-DE" sz="1100"/>
              <a:t> </a:t>
            </a:r>
            <a:r>
              <a:rPr lang="de-DE" sz="1100" err="1"/>
              <a:t>be</a:t>
            </a:r>
            <a:r>
              <a:rPr lang="de-DE" sz="1100"/>
              <a:t> </a:t>
            </a:r>
            <a:r>
              <a:rPr lang="de-DE" sz="1100" err="1"/>
              <a:t>presented</a:t>
            </a:r>
            <a:r>
              <a:rPr lang="de-DE" sz="1100"/>
              <a:t> </a:t>
            </a:r>
            <a:r>
              <a:rPr lang="de-DE" sz="1100" err="1"/>
              <a:t>and</a:t>
            </a:r>
            <a:r>
              <a:rPr lang="de-DE" sz="1100"/>
              <a:t> will </a:t>
            </a:r>
            <a:r>
              <a:rPr lang="de-DE" sz="1100" err="1"/>
              <a:t>be</a:t>
            </a:r>
            <a:r>
              <a:rPr lang="de-DE" sz="1100"/>
              <a:t> </a:t>
            </a:r>
            <a:r>
              <a:rPr lang="de-DE" sz="1100" err="1"/>
              <a:t>part</a:t>
            </a:r>
            <a:r>
              <a:rPr lang="de-DE" sz="1100"/>
              <a:t> of the </a:t>
            </a:r>
            <a:r>
              <a:rPr lang="de-DE" sz="1100" err="1"/>
              <a:t>grading</a:t>
            </a:r>
            <a:endParaRPr lang="de-DE" sz="1400"/>
          </a:p>
        </p:txBody>
      </p:sp>
    </p:spTree>
    <p:extLst>
      <p:ext uri="{BB962C8B-B14F-4D97-AF65-F5344CB8AC3E}">
        <p14:creationId xmlns:p14="http://schemas.microsoft.com/office/powerpoint/2010/main" val="118085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" name="Rechteck 100"/>
          <p:cNvSpPr/>
          <p:nvPr/>
        </p:nvSpPr>
        <p:spPr>
          <a:xfrm>
            <a:off x="0" y="1653675"/>
            <a:ext cx="12192000" cy="3885664"/>
          </a:xfrm>
          <a:prstGeom prst="rect">
            <a:avLst/>
          </a:prstGeom>
          <a:solidFill>
            <a:srgbClr val="E2E2E2"/>
          </a:solidFill>
          <a:ln>
            <a:noFill/>
          </a:ln>
        </p:spPr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Bef>
                <a:spcPct val="0"/>
              </a:spcBef>
              <a:spcAft>
                <a:spcPts val="1000"/>
              </a:spcAft>
            </a:pPr>
            <a:endParaRPr lang="de-DE" sz="1400" b="1"/>
          </a:p>
        </p:txBody>
      </p:sp>
      <p:sp>
        <p:nvSpPr>
          <p:cNvPr id="102" name="Textfeld 101"/>
          <p:cNvSpPr txBox="1"/>
          <p:nvPr/>
        </p:nvSpPr>
        <p:spPr>
          <a:xfrm>
            <a:off x="537054" y="1743367"/>
            <a:ext cx="1282402" cy="215444"/>
          </a:xfrm>
          <a:prstGeom prst="rect">
            <a:avLst/>
          </a:prstGeom>
        </p:spPr>
        <p:txBody>
          <a:bodyPr wrap="none" lIns="0" tIns="0" rIns="0" bIns="0" rtlCol="0" anchor="t" anchorCtr="0">
            <a:spAutoFit/>
          </a:bodyPr>
          <a:lstStyle/>
          <a:p>
            <a:pPr marL="0" indent="0" algn="l">
              <a:buNone/>
            </a:pPr>
            <a:r>
              <a:rPr lang="de-DE" sz="1400" b="1"/>
              <a:t>Micro </a:t>
            </a:r>
            <a:r>
              <a:rPr lang="de-DE" sz="1400" b="1" err="1"/>
              <a:t>Planning</a:t>
            </a:r>
            <a:endParaRPr lang="de-DE" sz="1400" b="1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C77B030-DC07-324B-B7BE-A9AE7C7004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B.A.T.M.A.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68CEBA8-FE3C-124C-BF6B-AAB3D6D21A1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err="1"/>
              <a:t>Organization</a:t>
            </a: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310BB5D-ABC8-984B-B97A-48F7EEBF36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© Heinz Nixdorf Institut / Fraunhofer IEM</a:t>
            </a:r>
          </a:p>
        </p:txBody>
      </p:sp>
      <p:pic>
        <p:nvPicPr>
          <p:cNvPr id="11" name="Inhaltsplatzhalter 10"/>
          <p:cNvPicPr>
            <a:picLocks noGrp="1" noChangeAspect="1"/>
          </p:cNvPicPr>
          <p:nvPr>
            <p:ph sz="quarter" idx="38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1388" y="6530168"/>
            <a:ext cx="11112" cy="7964"/>
          </a:xfrm>
        </p:spPr>
      </p:pic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12E70EB2-348E-2741-A3FB-ED684125EE2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5685BD5-7F70-499C-8F04-1460C72EE5D6}" type="slidenum">
              <a:rPr lang="de-DE" smtClean="0"/>
              <a:pPr/>
              <a:t>12</a:t>
            </a:fld>
            <a:endParaRPr lang="de-DE"/>
          </a:p>
        </p:txBody>
      </p:sp>
      <p:sp>
        <p:nvSpPr>
          <p:cNvPr id="57" name="Gebogener Pfeil 56"/>
          <p:cNvSpPr/>
          <p:nvPr/>
        </p:nvSpPr>
        <p:spPr bwMode="auto">
          <a:xfrm rot="6300000">
            <a:off x="7558382" y="3184155"/>
            <a:ext cx="624636" cy="624636"/>
          </a:xfrm>
          <a:prstGeom prst="circularArrow">
            <a:avLst>
              <a:gd name="adj1" fmla="val 12500"/>
              <a:gd name="adj2" fmla="val 1142319"/>
              <a:gd name="adj3" fmla="val 20457681"/>
              <a:gd name="adj4" fmla="val 2564578"/>
              <a:gd name="adj5" fmla="val 12500"/>
            </a:avLst>
          </a:prstGeom>
          <a:solidFill>
            <a:schemeClr val="tx2">
              <a:lumMod val="60000"/>
              <a:lumOff val="40000"/>
              <a:alpha val="60000"/>
            </a:schemeClr>
          </a:solidFill>
          <a:ln w="9525">
            <a:noFill/>
            <a:round/>
            <a:headEnd type="arrow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de-DE" sz="1400"/>
          </a:p>
        </p:txBody>
      </p:sp>
      <p:sp>
        <p:nvSpPr>
          <p:cNvPr id="58" name="Pfeil nach rechts 57"/>
          <p:cNvSpPr/>
          <p:nvPr/>
        </p:nvSpPr>
        <p:spPr bwMode="auto">
          <a:xfrm>
            <a:off x="5579678" y="4079131"/>
            <a:ext cx="4398288" cy="330074"/>
          </a:xfrm>
          <a:prstGeom prst="rightArrow">
            <a:avLst/>
          </a:prstGeom>
          <a:solidFill>
            <a:schemeClr val="tx2"/>
          </a:solidFill>
          <a:ln w="9525">
            <a:noFill/>
            <a:round/>
            <a:headEnd type="arrow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de-DE" sz="1400"/>
          </a:p>
        </p:txBody>
      </p:sp>
      <p:sp>
        <p:nvSpPr>
          <p:cNvPr id="59" name="Gebogener Pfeil 58"/>
          <p:cNvSpPr/>
          <p:nvPr/>
        </p:nvSpPr>
        <p:spPr bwMode="auto">
          <a:xfrm flipH="1">
            <a:off x="6734939" y="3283052"/>
            <a:ext cx="1100248" cy="1100248"/>
          </a:xfrm>
          <a:prstGeom prst="circularArrow">
            <a:avLst>
              <a:gd name="adj1" fmla="val 12500"/>
              <a:gd name="adj2" fmla="val 1142319"/>
              <a:gd name="adj3" fmla="val 20457681"/>
              <a:gd name="adj4" fmla="val 5374507"/>
              <a:gd name="adj5" fmla="val 12500"/>
            </a:avLst>
          </a:prstGeom>
          <a:solidFill>
            <a:schemeClr val="tx2"/>
          </a:solidFill>
          <a:ln w="9525">
            <a:noFill/>
            <a:round/>
            <a:headEnd type="arrow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de-DE" sz="1400"/>
          </a:p>
        </p:txBody>
      </p:sp>
      <p:sp>
        <p:nvSpPr>
          <p:cNvPr id="60" name="Rechteck 59"/>
          <p:cNvSpPr/>
          <p:nvPr/>
        </p:nvSpPr>
        <p:spPr>
          <a:xfrm>
            <a:off x="8122934" y="3318668"/>
            <a:ext cx="209891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DE" sz="1200" b="1">
                <a:solidFill>
                  <a:srgbClr val="000000"/>
                </a:solidFill>
                <a:latin typeface="+mj-lt"/>
              </a:rPr>
              <a:t>Review</a:t>
            </a:r>
          </a:p>
        </p:txBody>
      </p:sp>
      <p:sp>
        <p:nvSpPr>
          <p:cNvPr id="61" name="Rechteck 60"/>
          <p:cNvSpPr/>
          <p:nvPr/>
        </p:nvSpPr>
        <p:spPr>
          <a:xfrm>
            <a:off x="5390350" y="3318668"/>
            <a:ext cx="190077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200" b="1">
                <a:solidFill>
                  <a:srgbClr val="000000"/>
                </a:solidFill>
                <a:latin typeface="+mj-lt"/>
              </a:rPr>
              <a:t>Sprint </a:t>
            </a:r>
            <a:r>
              <a:rPr lang="de-DE" sz="1200" b="1" err="1">
                <a:solidFill>
                  <a:srgbClr val="000000"/>
                </a:solidFill>
                <a:latin typeface="+mj-lt"/>
              </a:rPr>
              <a:t>Planning</a:t>
            </a:r>
            <a:endParaRPr lang="de-DE" sz="1200" b="1">
              <a:solidFill>
                <a:srgbClr val="000000"/>
              </a:solidFill>
              <a:latin typeface="+mj-lt"/>
            </a:endParaRPr>
          </a:p>
        </p:txBody>
      </p:sp>
      <p:pic>
        <p:nvPicPr>
          <p:cNvPr id="62" name="Grafik 61"/>
          <p:cNvPicPr>
            <a:picLocks noChangeAspect="1"/>
          </p:cNvPicPr>
          <p:nvPr/>
        </p:nvPicPr>
        <p:blipFill>
          <a:blip r:embed="rId4">
            <a:grayscl/>
          </a:blip>
          <a:stretch>
            <a:fillRect/>
          </a:stretch>
        </p:blipFill>
        <p:spPr>
          <a:xfrm>
            <a:off x="5835032" y="2941123"/>
            <a:ext cx="377545" cy="377545"/>
          </a:xfrm>
          <a:prstGeom prst="rect">
            <a:avLst/>
          </a:prstGeom>
        </p:spPr>
      </p:pic>
      <p:pic>
        <p:nvPicPr>
          <p:cNvPr id="63" name="Grafik 62"/>
          <p:cNvPicPr>
            <a:picLocks noChangeAspect="1"/>
          </p:cNvPicPr>
          <p:nvPr/>
        </p:nvPicPr>
        <p:blipFill>
          <a:blip r:embed="rId4">
            <a:grayscl/>
          </a:blip>
          <a:stretch>
            <a:fillRect/>
          </a:stretch>
        </p:blipFill>
        <p:spPr>
          <a:xfrm>
            <a:off x="8983618" y="2944748"/>
            <a:ext cx="377545" cy="377545"/>
          </a:xfrm>
          <a:prstGeom prst="rect">
            <a:avLst/>
          </a:prstGeom>
        </p:spPr>
      </p:pic>
      <p:sp>
        <p:nvSpPr>
          <p:cNvPr id="64" name="Rechteck 63"/>
          <p:cNvSpPr/>
          <p:nvPr/>
        </p:nvSpPr>
        <p:spPr bwMode="auto">
          <a:xfrm>
            <a:off x="10120167" y="4163251"/>
            <a:ext cx="220050" cy="220050"/>
          </a:xfrm>
          <a:prstGeom prst="rect">
            <a:avLst/>
          </a:prstGeom>
          <a:solidFill>
            <a:schemeClr val="tx2">
              <a:alpha val="50000"/>
            </a:schemeClr>
          </a:solidFill>
          <a:ln w="38100">
            <a:solidFill>
              <a:schemeClr val="bg1"/>
            </a:solidFill>
            <a:round/>
            <a:headEnd type="arrow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de-DE" sz="1400"/>
          </a:p>
        </p:txBody>
      </p:sp>
      <p:sp>
        <p:nvSpPr>
          <p:cNvPr id="65" name="Rechteck 64"/>
          <p:cNvSpPr/>
          <p:nvPr/>
        </p:nvSpPr>
        <p:spPr bwMode="auto">
          <a:xfrm>
            <a:off x="10340216" y="4163251"/>
            <a:ext cx="220050" cy="220050"/>
          </a:xfrm>
          <a:prstGeom prst="rect">
            <a:avLst/>
          </a:prstGeom>
          <a:solidFill>
            <a:schemeClr val="tx2">
              <a:alpha val="50000"/>
            </a:schemeClr>
          </a:solidFill>
          <a:ln w="38100">
            <a:solidFill>
              <a:schemeClr val="bg1"/>
            </a:solidFill>
            <a:round/>
            <a:headEnd type="arrow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de-DE" sz="1400"/>
          </a:p>
        </p:txBody>
      </p:sp>
      <p:sp>
        <p:nvSpPr>
          <p:cNvPr id="66" name="Rechteck 65"/>
          <p:cNvSpPr/>
          <p:nvPr/>
        </p:nvSpPr>
        <p:spPr bwMode="auto">
          <a:xfrm>
            <a:off x="11000365" y="4163251"/>
            <a:ext cx="220050" cy="220050"/>
          </a:xfrm>
          <a:prstGeom prst="rect">
            <a:avLst/>
          </a:prstGeom>
          <a:solidFill>
            <a:schemeClr val="tx2">
              <a:alpha val="50000"/>
            </a:schemeClr>
          </a:solidFill>
          <a:ln w="38100">
            <a:solidFill>
              <a:schemeClr val="bg1"/>
            </a:solidFill>
            <a:round/>
            <a:headEnd type="arrow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de-DE" sz="1400"/>
          </a:p>
        </p:txBody>
      </p:sp>
      <p:sp>
        <p:nvSpPr>
          <p:cNvPr id="67" name="Rechteck 66"/>
          <p:cNvSpPr/>
          <p:nvPr/>
        </p:nvSpPr>
        <p:spPr bwMode="auto">
          <a:xfrm>
            <a:off x="11220415" y="4163251"/>
            <a:ext cx="220050" cy="220050"/>
          </a:xfrm>
          <a:prstGeom prst="rect">
            <a:avLst/>
          </a:prstGeom>
          <a:solidFill>
            <a:schemeClr val="tx2">
              <a:alpha val="50000"/>
            </a:schemeClr>
          </a:solidFill>
          <a:ln w="38100">
            <a:solidFill>
              <a:schemeClr val="bg1"/>
            </a:solidFill>
            <a:round/>
            <a:headEnd type="arrow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de-DE" sz="1400"/>
          </a:p>
        </p:txBody>
      </p:sp>
      <p:sp>
        <p:nvSpPr>
          <p:cNvPr id="68" name="Rechteck 67"/>
          <p:cNvSpPr/>
          <p:nvPr/>
        </p:nvSpPr>
        <p:spPr bwMode="auto">
          <a:xfrm>
            <a:off x="11000365" y="3943201"/>
            <a:ext cx="220050" cy="220050"/>
          </a:xfrm>
          <a:prstGeom prst="rect">
            <a:avLst/>
          </a:prstGeom>
          <a:solidFill>
            <a:schemeClr val="tx2">
              <a:alpha val="50000"/>
            </a:schemeClr>
          </a:solidFill>
          <a:ln w="38100">
            <a:solidFill>
              <a:schemeClr val="bg1"/>
            </a:solidFill>
            <a:round/>
            <a:headEnd type="arrow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de-DE" sz="1400"/>
          </a:p>
        </p:txBody>
      </p:sp>
      <p:sp>
        <p:nvSpPr>
          <p:cNvPr id="69" name="Rechteck 68"/>
          <p:cNvSpPr/>
          <p:nvPr/>
        </p:nvSpPr>
        <p:spPr bwMode="auto">
          <a:xfrm>
            <a:off x="11220415" y="3943201"/>
            <a:ext cx="220050" cy="220050"/>
          </a:xfrm>
          <a:prstGeom prst="rect">
            <a:avLst/>
          </a:prstGeom>
          <a:solidFill>
            <a:schemeClr val="tx2">
              <a:alpha val="50000"/>
            </a:schemeClr>
          </a:solidFill>
          <a:ln w="38100">
            <a:solidFill>
              <a:schemeClr val="bg1"/>
            </a:solidFill>
            <a:round/>
            <a:headEnd type="arrow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de-DE" sz="1400"/>
          </a:p>
        </p:txBody>
      </p:sp>
      <p:sp>
        <p:nvSpPr>
          <p:cNvPr id="70" name="Rechteck 69"/>
          <p:cNvSpPr/>
          <p:nvPr/>
        </p:nvSpPr>
        <p:spPr bwMode="auto">
          <a:xfrm>
            <a:off x="11000365" y="3723151"/>
            <a:ext cx="220050" cy="220050"/>
          </a:xfrm>
          <a:prstGeom prst="rect">
            <a:avLst/>
          </a:prstGeom>
          <a:solidFill>
            <a:schemeClr val="tx2">
              <a:alpha val="50000"/>
            </a:schemeClr>
          </a:solidFill>
          <a:ln w="38100">
            <a:solidFill>
              <a:schemeClr val="bg1"/>
            </a:solidFill>
            <a:round/>
            <a:headEnd type="arrow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de-DE" sz="1400"/>
          </a:p>
        </p:txBody>
      </p:sp>
      <p:sp>
        <p:nvSpPr>
          <p:cNvPr id="71" name="Rechteck 70"/>
          <p:cNvSpPr/>
          <p:nvPr/>
        </p:nvSpPr>
        <p:spPr bwMode="auto">
          <a:xfrm>
            <a:off x="11220415" y="3723151"/>
            <a:ext cx="220050" cy="220050"/>
          </a:xfrm>
          <a:prstGeom prst="rect">
            <a:avLst/>
          </a:prstGeom>
          <a:solidFill>
            <a:schemeClr val="tx2">
              <a:alpha val="50000"/>
            </a:schemeClr>
          </a:solidFill>
          <a:ln w="38100">
            <a:solidFill>
              <a:schemeClr val="bg1"/>
            </a:solidFill>
            <a:round/>
            <a:headEnd type="arrow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de-DE" sz="1400"/>
          </a:p>
        </p:txBody>
      </p:sp>
      <p:sp>
        <p:nvSpPr>
          <p:cNvPr id="72" name="Rechteck 71"/>
          <p:cNvSpPr/>
          <p:nvPr/>
        </p:nvSpPr>
        <p:spPr>
          <a:xfrm>
            <a:off x="9977370" y="3000311"/>
            <a:ext cx="154401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en-US" sz="1200" b="1">
                <a:latin typeface="+mj-lt"/>
              </a:rPr>
              <a:t>Status reports and</a:t>
            </a:r>
          </a:p>
          <a:p>
            <a:pPr algn="r"/>
            <a:r>
              <a:rPr lang="en-US" sz="1200" b="1">
                <a:latin typeface="+mj-lt"/>
              </a:rPr>
              <a:t>Result reports</a:t>
            </a:r>
            <a:endParaRPr lang="de-DE" sz="1200">
              <a:latin typeface="+mj-lt"/>
            </a:endParaRPr>
          </a:p>
        </p:txBody>
      </p:sp>
      <p:sp>
        <p:nvSpPr>
          <p:cNvPr id="73" name="Rechteck 72"/>
          <p:cNvSpPr/>
          <p:nvPr/>
        </p:nvSpPr>
        <p:spPr bwMode="auto">
          <a:xfrm>
            <a:off x="3536885" y="4163251"/>
            <a:ext cx="220050" cy="220050"/>
          </a:xfrm>
          <a:prstGeom prst="rect">
            <a:avLst/>
          </a:prstGeom>
          <a:solidFill>
            <a:schemeClr val="tx2">
              <a:alpha val="50000"/>
            </a:schemeClr>
          </a:solidFill>
          <a:ln w="38100">
            <a:solidFill>
              <a:schemeClr val="bg1"/>
            </a:solidFill>
            <a:round/>
            <a:headEnd type="arrow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de-DE" sz="1400"/>
          </a:p>
        </p:txBody>
      </p:sp>
      <p:sp>
        <p:nvSpPr>
          <p:cNvPr id="74" name="Rechteck 73"/>
          <p:cNvSpPr/>
          <p:nvPr/>
        </p:nvSpPr>
        <p:spPr bwMode="auto">
          <a:xfrm>
            <a:off x="3756935" y="4163251"/>
            <a:ext cx="220050" cy="220050"/>
          </a:xfrm>
          <a:prstGeom prst="rect">
            <a:avLst/>
          </a:prstGeom>
          <a:solidFill>
            <a:schemeClr val="tx2">
              <a:alpha val="50000"/>
            </a:schemeClr>
          </a:solidFill>
          <a:ln w="38100">
            <a:solidFill>
              <a:schemeClr val="bg1"/>
            </a:solidFill>
            <a:round/>
            <a:headEnd type="arrow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de-DE" sz="1400"/>
          </a:p>
        </p:txBody>
      </p:sp>
      <p:sp>
        <p:nvSpPr>
          <p:cNvPr id="75" name="Rechteck 74"/>
          <p:cNvSpPr/>
          <p:nvPr/>
        </p:nvSpPr>
        <p:spPr bwMode="auto">
          <a:xfrm>
            <a:off x="3536885" y="3943201"/>
            <a:ext cx="220050" cy="220050"/>
          </a:xfrm>
          <a:prstGeom prst="rect">
            <a:avLst/>
          </a:prstGeom>
          <a:solidFill>
            <a:schemeClr val="tx2">
              <a:alpha val="50000"/>
            </a:schemeClr>
          </a:solidFill>
          <a:ln w="38100">
            <a:solidFill>
              <a:schemeClr val="bg1"/>
            </a:solidFill>
            <a:round/>
            <a:headEnd type="arrow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de-DE" sz="1400"/>
          </a:p>
        </p:txBody>
      </p:sp>
      <p:sp>
        <p:nvSpPr>
          <p:cNvPr id="76" name="Rechteck 75"/>
          <p:cNvSpPr/>
          <p:nvPr/>
        </p:nvSpPr>
        <p:spPr bwMode="auto">
          <a:xfrm>
            <a:off x="3756935" y="3943201"/>
            <a:ext cx="220050" cy="220050"/>
          </a:xfrm>
          <a:prstGeom prst="rect">
            <a:avLst/>
          </a:prstGeom>
          <a:solidFill>
            <a:schemeClr val="tx2">
              <a:alpha val="50000"/>
            </a:schemeClr>
          </a:solidFill>
          <a:ln w="38100">
            <a:solidFill>
              <a:schemeClr val="bg1"/>
            </a:solidFill>
            <a:round/>
            <a:headEnd type="arrow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de-DE" sz="1400"/>
          </a:p>
        </p:txBody>
      </p:sp>
      <p:sp>
        <p:nvSpPr>
          <p:cNvPr id="77" name="Pfeil nach rechts 76"/>
          <p:cNvSpPr/>
          <p:nvPr/>
        </p:nvSpPr>
        <p:spPr bwMode="auto">
          <a:xfrm>
            <a:off x="4315075" y="4079131"/>
            <a:ext cx="644118" cy="330074"/>
          </a:xfrm>
          <a:prstGeom prst="rightArrow">
            <a:avLst/>
          </a:prstGeom>
          <a:solidFill>
            <a:schemeClr val="tx2"/>
          </a:solidFill>
          <a:ln w="9525">
            <a:noFill/>
            <a:round/>
            <a:headEnd type="arrow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de-DE" sz="1400"/>
          </a:p>
        </p:txBody>
      </p:sp>
      <p:sp>
        <p:nvSpPr>
          <p:cNvPr id="78" name="Rechteck 77"/>
          <p:cNvSpPr/>
          <p:nvPr/>
        </p:nvSpPr>
        <p:spPr bwMode="auto">
          <a:xfrm>
            <a:off x="3975117" y="4163251"/>
            <a:ext cx="220050" cy="220050"/>
          </a:xfrm>
          <a:prstGeom prst="rect">
            <a:avLst/>
          </a:prstGeom>
          <a:solidFill>
            <a:schemeClr val="tx2">
              <a:alpha val="50000"/>
            </a:schemeClr>
          </a:solidFill>
          <a:ln w="38100">
            <a:solidFill>
              <a:schemeClr val="bg1"/>
            </a:solidFill>
            <a:round/>
            <a:headEnd type="arrow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de-DE" sz="1400"/>
          </a:p>
        </p:txBody>
      </p:sp>
      <p:sp>
        <p:nvSpPr>
          <p:cNvPr id="79" name="Rechteck 78"/>
          <p:cNvSpPr/>
          <p:nvPr/>
        </p:nvSpPr>
        <p:spPr bwMode="auto">
          <a:xfrm>
            <a:off x="3975117" y="3943201"/>
            <a:ext cx="220050" cy="220050"/>
          </a:xfrm>
          <a:prstGeom prst="rect">
            <a:avLst/>
          </a:prstGeom>
          <a:solidFill>
            <a:schemeClr val="tx2">
              <a:alpha val="50000"/>
            </a:schemeClr>
          </a:solidFill>
          <a:ln w="38100">
            <a:solidFill>
              <a:schemeClr val="bg1"/>
            </a:solidFill>
            <a:round/>
            <a:headEnd type="arrow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de-DE" sz="1400"/>
          </a:p>
        </p:txBody>
      </p:sp>
      <p:sp>
        <p:nvSpPr>
          <p:cNvPr id="80" name="Rechteck 79"/>
          <p:cNvSpPr/>
          <p:nvPr/>
        </p:nvSpPr>
        <p:spPr bwMode="auto">
          <a:xfrm>
            <a:off x="3536885" y="3723151"/>
            <a:ext cx="220050" cy="220050"/>
          </a:xfrm>
          <a:prstGeom prst="rect">
            <a:avLst/>
          </a:prstGeom>
          <a:solidFill>
            <a:schemeClr val="tx2">
              <a:alpha val="50000"/>
            </a:schemeClr>
          </a:solidFill>
          <a:ln w="38100">
            <a:solidFill>
              <a:schemeClr val="bg1"/>
            </a:solidFill>
            <a:round/>
            <a:headEnd type="arrow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de-DE" sz="1400"/>
          </a:p>
        </p:txBody>
      </p:sp>
      <p:sp>
        <p:nvSpPr>
          <p:cNvPr id="81" name="Rechteck 80"/>
          <p:cNvSpPr/>
          <p:nvPr/>
        </p:nvSpPr>
        <p:spPr bwMode="auto">
          <a:xfrm>
            <a:off x="3756935" y="3723151"/>
            <a:ext cx="220050" cy="220050"/>
          </a:xfrm>
          <a:prstGeom prst="rect">
            <a:avLst/>
          </a:prstGeom>
          <a:solidFill>
            <a:schemeClr val="tx2">
              <a:alpha val="50000"/>
            </a:schemeClr>
          </a:solidFill>
          <a:ln w="38100">
            <a:solidFill>
              <a:schemeClr val="bg1"/>
            </a:solidFill>
            <a:round/>
            <a:headEnd type="arrow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de-DE" sz="1400"/>
          </a:p>
        </p:txBody>
      </p:sp>
      <p:sp>
        <p:nvSpPr>
          <p:cNvPr id="82" name="Rechteck 81"/>
          <p:cNvSpPr/>
          <p:nvPr/>
        </p:nvSpPr>
        <p:spPr bwMode="auto">
          <a:xfrm>
            <a:off x="3975117" y="3723151"/>
            <a:ext cx="220050" cy="220050"/>
          </a:xfrm>
          <a:prstGeom prst="rect">
            <a:avLst/>
          </a:prstGeom>
          <a:solidFill>
            <a:schemeClr val="tx2">
              <a:alpha val="50000"/>
            </a:schemeClr>
          </a:solidFill>
          <a:ln w="38100">
            <a:solidFill>
              <a:schemeClr val="bg1"/>
            </a:solidFill>
            <a:round/>
            <a:headEnd type="arrow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de-DE" sz="1400"/>
          </a:p>
        </p:txBody>
      </p:sp>
      <p:sp>
        <p:nvSpPr>
          <p:cNvPr id="83" name="Rechteck 82"/>
          <p:cNvSpPr/>
          <p:nvPr/>
        </p:nvSpPr>
        <p:spPr bwMode="auto">
          <a:xfrm>
            <a:off x="3485267" y="3674533"/>
            <a:ext cx="758596" cy="757386"/>
          </a:xfrm>
          <a:prstGeom prst="rect">
            <a:avLst/>
          </a:prstGeom>
          <a:noFill/>
          <a:ln w="19050">
            <a:solidFill>
              <a:schemeClr val="tx2"/>
            </a:solidFill>
            <a:prstDash val="sysDash"/>
            <a:round/>
            <a:headEnd type="arrow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de-DE" sz="1400"/>
          </a:p>
        </p:txBody>
      </p:sp>
      <p:sp>
        <p:nvSpPr>
          <p:cNvPr id="84" name="Rechteck 83"/>
          <p:cNvSpPr/>
          <p:nvPr/>
        </p:nvSpPr>
        <p:spPr bwMode="auto">
          <a:xfrm>
            <a:off x="5042477" y="4163251"/>
            <a:ext cx="220050" cy="220050"/>
          </a:xfrm>
          <a:prstGeom prst="rect">
            <a:avLst/>
          </a:prstGeom>
          <a:solidFill>
            <a:schemeClr val="tx2">
              <a:alpha val="50000"/>
            </a:schemeClr>
          </a:solidFill>
          <a:ln w="38100">
            <a:solidFill>
              <a:schemeClr val="bg1"/>
            </a:solidFill>
            <a:round/>
            <a:headEnd type="arrow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de-DE" sz="1400"/>
          </a:p>
        </p:txBody>
      </p:sp>
      <p:sp>
        <p:nvSpPr>
          <p:cNvPr id="85" name="Rechteck 84"/>
          <p:cNvSpPr/>
          <p:nvPr/>
        </p:nvSpPr>
        <p:spPr bwMode="auto">
          <a:xfrm>
            <a:off x="5042477" y="3943201"/>
            <a:ext cx="220050" cy="220050"/>
          </a:xfrm>
          <a:prstGeom prst="rect">
            <a:avLst/>
          </a:prstGeom>
          <a:solidFill>
            <a:schemeClr val="tx2">
              <a:alpha val="50000"/>
            </a:schemeClr>
          </a:solidFill>
          <a:ln w="38100">
            <a:solidFill>
              <a:schemeClr val="bg1"/>
            </a:solidFill>
            <a:round/>
            <a:headEnd type="arrow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de-DE" sz="1400"/>
          </a:p>
        </p:txBody>
      </p:sp>
      <p:sp>
        <p:nvSpPr>
          <p:cNvPr id="86" name="Rechteck 85"/>
          <p:cNvSpPr/>
          <p:nvPr/>
        </p:nvSpPr>
        <p:spPr bwMode="auto">
          <a:xfrm>
            <a:off x="5260660" y="4163251"/>
            <a:ext cx="220050" cy="220050"/>
          </a:xfrm>
          <a:prstGeom prst="rect">
            <a:avLst/>
          </a:prstGeom>
          <a:solidFill>
            <a:schemeClr val="tx2">
              <a:alpha val="50000"/>
            </a:schemeClr>
          </a:solidFill>
          <a:ln w="38100">
            <a:solidFill>
              <a:schemeClr val="bg1"/>
            </a:solidFill>
            <a:round/>
            <a:headEnd type="arrow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de-DE" sz="1400"/>
          </a:p>
        </p:txBody>
      </p:sp>
      <p:sp>
        <p:nvSpPr>
          <p:cNvPr id="87" name="Rechteck 86"/>
          <p:cNvSpPr/>
          <p:nvPr/>
        </p:nvSpPr>
        <p:spPr>
          <a:xfrm>
            <a:off x="3431371" y="3202832"/>
            <a:ext cx="172959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200" err="1">
                <a:latin typeface="+mj-lt"/>
              </a:rPr>
              <a:t>Product</a:t>
            </a:r>
            <a:r>
              <a:rPr lang="de-DE" sz="1200">
                <a:latin typeface="+mj-lt"/>
              </a:rPr>
              <a:t> </a:t>
            </a:r>
          </a:p>
          <a:p>
            <a:r>
              <a:rPr lang="de-DE" sz="1200" err="1">
                <a:latin typeface="+mj-lt"/>
              </a:rPr>
              <a:t>Backlog</a:t>
            </a:r>
            <a:endParaRPr lang="de-DE" sz="1200" b="1">
              <a:latin typeface="+mj-lt"/>
            </a:endParaRPr>
          </a:p>
        </p:txBody>
      </p:sp>
      <p:sp>
        <p:nvSpPr>
          <p:cNvPr id="88" name="Rechteck 87"/>
          <p:cNvSpPr/>
          <p:nvPr/>
        </p:nvSpPr>
        <p:spPr bwMode="auto">
          <a:xfrm>
            <a:off x="10340216" y="3940247"/>
            <a:ext cx="220050" cy="220050"/>
          </a:xfrm>
          <a:prstGeom prst="rect">
            <a:avLst/>
          </a:prstGeom>
          <a:solidFill>
            <a:schemeClr val="tx2">
              <a:alpha val="50000"/>
            </a:schemeClr>
          </a:solidFill>
          <a:ln w="38100">
            <a:solidFill>
              <a:schemeClr val="bg1"/>
            </a:solidFill>
            <a:round/>
            <a:headEnd type="arrow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de-DE" sz="1400"/>
          </a:p>
        </p:txBody>
      </p:sp>
      <p:sp>
        <p:nvSpPr>
          <p:cNvPr id="89" name="Rechteck 88"/>
          <p:cNvSpPr/>
          <p:nvPr/>
        </p:nvSpPr>
        <p:spPr bwMode="auto">
          <a:xfrm>
            <a:off x="11220415" y="3500628"/>
            <a:ext cx="220050" cy="220050"/>
          </a:xfrm>
          <a:prstGeom prst="rect">
            <a:avLst/>
          </a:prstGeom>
          <a:solidFill>
            <a:schemeClr val="tx2">
              <a:alpha val="50000"/>
            </a:schemeClr>
          </a:solidFill>
          <a:ln w="38100">
            <a:solidFill>
              <a:schemeClr val="bg1"/>
            </a:solidFill>
            <a:round/>
            <a:headEnd type="arrow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de-DE" sz="1400"/>
          </a:p>
        </p:txBody>
      </p:sp>
      <p:pic>
        <p:nvPicPr>
          <p:cNvPr id="90" name="Grafik 89"/>
          <p:cNvPicPr>
            <a:picLocks noChangeAspect="1"/>
          </p:cNvPicPr>
          <p:nvPr/>
        </p:nvPicPr>
        <p:blipFill>
          <a:blip r:embed="rId5">
            <a:duotone>
              <a:prstClr val="black"/>
              <a:schemeClr val="tx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0518811" y="3842692"/>
            <a:ext cx="522560" cy="522560"/>
          </a:xfrm>
          <a:prstGeom prst="rect">
            <a:avLst/>
          </a:prstGeom>
        </p:spPr>
      </p:pic>
      <p:sp>
        <p:nvSpPr>
          <p:cNvPr id="96" name="Textfeld 95"/>
          <p:cNvSpPr txBox="1"/>
          <p:nvPr/>
        </p:nvSpPr>
        <p:spPr>
          <a:xfrm>
            <a:off x="535898" y="2460851"/>
            <a:ext cx="2080302" cy="923330"/>
          </a:xfrm>
          <a:prstGeom prst="rect">
            <a:avLst/>
          </a:prstGeom>
        </p:spPr>
        <p:txBody>
          <a:bodyPr wrap="square" lIns="0" tIns="0" rIns="0" bIns="0" rtlCol="0" anchor="t" anchorCtr="0">
            <a:spAutoFit/>
          </a:bodyPr>
          <a:lstStyle/>
          <a:p>
            <a:pPr marL="0" indent="0" algn="l">
              <a:buNone/>
            </a:pPr>
            <a:r>
              <a:rPr lang="de-DE" sz="1200" b="1"/>
              <a:t>Events </a:t>
            </a:r>
            <a:r>
              <a:rPr lang="de-DE" sz="1200" b="1" err="1"/>
              <a:t>without</a:t>
            </a:r>
            <a:r>
              <a:rPr lang="de-DE" sz="1200" b="1"/>
              <a:t> Supervisors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sz="1200"/>
              <a:t>Daily </a:t>
            </a:r>
            <a:r>
              <a:rPr lang="de-DE" sz="1200" err="1"/>
              <a:t>or</a:t>
            </a:r>
            <a:r>
              <a:rPr lang="de-DE" sz="1200"/>
              <a:t> </a:t>
            </a:r>
            <a:r>
              <a:rPr lang="de-DE" sz="1200" err="1"/>
              <a:t>Weekly</a:t>
            </a:r>
            <a:endParaRPr lang="de-DE" sz="1200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sz="1200"/>
              <a:t>Work </a:t>
            </a:r>
            <a:r>
              <a:rPr lang="de-DE" sz="1200" err="1"/>
              <a:t>sessions</a:t>
            </a:r>
            <a:endParaRPr lang="de-DE" sz="1200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sz="1200"/>
              <a:t>Other </a:t>
            </a:r>
            <a:r>
              <a:rPr lang="de-DE" sz="1200" err="1"/>
              <a:t>group</a:t>
            </a:r>
            <a:r>
              <a:rPr lang="de-DE" sz="1200"/>
              <a:t> </a:t>
            </a:r>
            <a:r>
              <a:rPr lang="de-DE" sz="1200" err="1"/>
              <a:t>specific</a:t>
            </a:r>
            <a:r>
              <a:rPr lang="de-DE" sz="1200"/>
              <a:t> </a:t>
            </a:r>
            <a:r>
              <a:rPr lang="de-DE" sz="1200" err="1"/>
              <a:t>events</a:t>
            </a:r>
            <a:endParaRPr lang="de-DE" sz="1200"/>
          </a:p>
        </p:txBody>
      </p:sp>
      <p:sp>
        <p:nvSpPr>
          <p:cNvPr id="141" name="Rechteck 140"/>
          <p:cNvSpPr/>
          <p:nvPr/>
        </p:nvSpPr>
        <p:spPr>
          <a:xfrm>
            <a:off x="4714880" y="4447088"/>
            <a:ext cx="172959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200">
                <a:latin typeface="+mj-lt"/>
              </a:rPr>
              <a:t>Sprint </a:t>
            </a:r>
            <a:r>
              <a:rPr lang="de-DE" sz="1200" err="1">
                <a:latin typeface="+mj-lt"/>
              </a:rPr>
              <a:t>Backlog</a:t>
            </a:r>
            <a:endParaRPr lang="de-DE" sz="1200" b="1">
              <a:latin typeface="+mj-lt"/>
            </a:endParaRPr>
          </a:p>
        </p:txBody>
      </p:sp>
      <p:sp>
        <p:nvSpPr>
          <p:cNvPr id="142" name="Textfeld 141"/>
          <p:cNvSpPr txBox="1"/>
          <p:nvPr/>
        </p:nvSpPr>
        <p:spPr>
          <a:xfrm>
            <a:off x="535898" y="4123102"/>
            <a:ext cx="2080302" cy="1477328"/>
          </a:xfrm>
          <a:prstGeom prst="rect">
            <a:avLst/>
          </a:prstGeom>
        </p:spPr>
        <p:txBody>
          <a:bodyPr wrap="square" lIns="0" tIns="0" rIns="0" bIns="0" rtlCol="0" anchor="t" anchorCtr="0">
            <a:spAutoFit/>
          </a:bodyPr>
          <a:lstStyle/>
          <a:p>
            <a:pPr marL="0" indent="0" algn="l">
              <a:buNone/>
            </a:pPr>
            <a:r>
              <a:rPr lang="de-DE" sz="1200" b="1"/>
              <a:t>Instrument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/>
              <a:t>Kanban Board              (MS Planner)</a:t>
            </a:r>
            <a:endParaRPr lang="de-DE" sz="1200">
              <a:cs typeface="Arial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sz="1200" err="1"/>
              <a:t>Documents</a:t>
            </a:r>
            <a:r>
              <a:rPr lang="de-DE" sz="1200"/>
              <a:t> </a:t>
            </a:r>
            <a:r>
              <a:rPr lang="de-DE" sz="1200" err="1"/>
              <a:t>for</a:t>
            </a:r>
            <a:r>
              <a:rPr lang="de-DE" sz="1200"/>
              <a:t> </a:t>
            </a:r>
            <a:r>
              <a:rPr lang="de-DE" sz="1200" err="1"/>
              <a:t>work</a:t>
            </a:r>
            <a:r>
              <a:rPr lang="de-DE" sz="1200"/>
              <a:t> </a:t>
            </a:r>
            <a:r>
              <a:rPr lang="de-DE" sz="1200" err="1"/>
              <a:t>tracking</a:t>
            </a:r>
            <a:r>
              <a:rPr lang="de-DE" sz="1200"/>
              <a:t> and e. g. </a:t>
            </a:r>
            <a:r>
              <a:rPr lang="de-DE" sz="1200" err="1"/>
              <a:t>burndown</a:t>
            </a:r>
            <a:r>
              <a:rPr lang="de-DE" sz="1200"/>
              <a:t> </a:t>
            </a:r>
            <a:r>
              <a:rPr lang="de-DE" sz="1200" err="1"/>
              <a:t>charts</a:t>
            </a:r>
            <a:endParaRPr lang="de-DE" sz="1200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sz="1200"/>
              <a:t>Etc.</a:t>
            </a:r>
          </a:p>
        </p:txBody>
      </p:sp>
      <p:sp>
        <p:nvSpPr>
          <p:cNvPr id="219" name="Rechteck 218"/>
          <p:cNvSpPr/>
          <p:nvPr/>
        </p:nvSpPr>
        <p:spPr>
          <a:xfrm>
            <a:off x="6908637" y="3606925"/>
            <a:ext cx="79085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DE" sz="1200">
                <a:solidFill>
                  <a:srgbClr val="000000"/>
                </a:solidFill>
                <a:latin typeface="+mj-lt"/>
              </a:rPr>
              <a:t>Every 3 </a:t>
            </a:r>
            <a:r>
              <a:rPr lang="de-DE" sz="1200" err="1">
                <a:solidFill>
                  <a:srgbClr val="000000"/>
                </a:solidFill>
                <a:latin typeface="+mj-lt"/>
              </a:rPr>
              <a:t>weeks</a:t>
            </a:r>
            <a:endParaRPr lang="de-DE" sz="120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103" name="Textfeld 102"/>
          <p:cNvSpPr txBox="1"/>
          <p:nvPr/>
        </p:nvSpPr>
        <p:spPr>
          <a:xfrm>
            <a:off x="535898" y="3484591"/>
            <a:ext cx="2153664" cy="553998"/>
          </a:xfrm>
          <a:prstGeom prst="rect">
            <a:avLst/>
          </a:prstGeom>
        </p:spPr>
        <p:txBody>
          <a:bodyPr wrap="square" lIns="0" tIns="0" rIns="0" bIns="0" rtlCol="0" anchor="t" anchorCtr="0">
            <a:spAutoFit/>
          </a:bodyPr>
          <a:lstStyle/>
          <a:p>
            <a:pPr marL="0" indent="0" algn="l">
              <a:buNone/>
            </a:pPr>
            <a:r>
              <a:rPr lang="de-DE" sz="1200" b="1"/>
              <a:t>Events </a:t>
            </a:r>
            <a:r>
              <a:rPr lang="de-DE" sz="1200" b="1" err="1"/>
              <a:t>with</a:t>
            </a:r>
            <a:r>
              <a:rPr lang="de-DE" sz="1200" b="1"/>
              <a:t> Supervisors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sz="1200"/>
              <a:t>Sprint </a:t>
            </a:r>
            <a:r>
              <a:rPr lang="de-DE" sz="1200" err="1"/>
              <a:t>Planning</a:t>
            </a:r>
            <a:endParaRPr lang="de-DE" sz="1200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sz="1200"/>
              <a:t>Review</a:t>
            </a:r>
          </a:p>
        </p:txBody>
      </p:sp>
      <p:sp>
        <p:nvSpPr>
          <p:cNvPr id="107" name="Rechteck 106"/>
          <p:cNvSpPr/>
          <p:nvPr/>
        </p:nvSpPr>
        <p:spPr>
          <a:xfrm>
            <a:off x="7241778" y="2894467"/>
            <a:ext cx="135856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200" b="1">
                <a:solidFill>
                  <a:srgbClr val="000000"/>
                </a:solidFill>
                <a:latin typeface="+mj-lt"/>
              </a:rPr>
              <a:t>Daily </a:t>
            </a:r>
            <a:r>
              <a:rPr lang="de-DE" sz="1200" b="1" err="1">
                <a:solidFill>
                  <a:srgbClr val="000000"/>
                </a:solidFill>
                <a:latin typeface="+mj-lt"/>
              </a:rPr>
              <a:t>or</a:t>
            </a:r>
            <a:r>
              <a:rPr lang="de-DE" sz="1200" b="1">
                <a:solidFill>
                  <a:srgbClr val="000000"/>
                </a:solidFill>
                <a:latin typeface="+mj-lt"/>
              </a:rPr>
              <a:t> </a:t>
            </a:r>
            <a:r>
              <a:rPr lang="de-DE" sz="1200" b="1" err="1">
                <a:solidFill>
                  <a:srgbClr val="000000"/>
                </a:solidFill>
                <a:latin typeface="+mj-lt"/>
              </a:rPr>
              <a:t>Weekly</a:t>
            </a:r>
            <a:endParaRPr lang="de-DE" sz="1200" b="1">
              <a:solidFill>
                <a:srgbClr val="000000"/>
              </a:solidFill>
              <a:latin typeface="+mj-lt"/>
            </a:endParaRPr>
          </a:p>
        </p:txBody>
      </p:sp>
      <p:pic>
        <p:nvPicPr>
          <p:cNvPr id="108" name="Grafik 107"/>
          <p:cNvPicPr>
            <a:picLocks noChangeAspect="1"/>
          </p:cNvPicPr>
          <p:nvPr/>
        </p:nvPicPr>
        <p:blipFill>
          <a:blip r:embed="rId4">
            <a:grayscl/>
          </a:blip>
          <a:stretch>
            <a:fillRect/>
          </a:stretch>
        </p:blipFill>
        <p:spPr>
          <a:xfrm>
            <a:off x="7686459" y="2516922"/>
            <a:ext cx="377545" cy="377545"/>
          </a:xfrm>
          <a:prstGeom prst="rect">
            <a:avLst/>
          </a:prstGeom>
        </p:spPr>
      </p:pic>
      <p:grpSp>
        <p:nvGrpSpPr>
          <p:cNvPr id="8" name="Gruppieren 7"/>
          <p:cNvGrpSpPr/>
          <p:nvPr/>
        </p:nvGrpSpPr>
        <p:grpSpPr>
          <a:xfrm>
            <a:off x="3338519" y="5014762"/>
            <a:ext cx="5343468" cy="1252218"/>
            <a:chOff x="3338519" y="5014762"/>
            <a:chExt cx="5343468" cy="1252218"/>
          </a:xfrm>
        </p:grpSpPr>
        <p:sp>
          <p:nvSpPr>
            <p:cNvPr id="111" name="Rechteck 110"/>
            <p:cNvSpPr/>
            <p:nvPr/>
          </p:nvSpPr>
          <p:spPr>
            <a:xfrm>
              <a:off x="3528336" y="5014762"/>
              <a:ext cx="5153651" cy="1252218"/>
            </a:xfrm>
            <a:prstGeom prst="rect">
              <a:avLst/>
            </a:prstGeom>
            <a:solidFill>
              <a:srgbClr val="FEEFD6"/>
            </a:solidFill>
            <a:ln w="12700">
              <a:solidFill>
                <a:srgbClr val="FEEFD6">
                  <a:lumMod val="50000"/>
                </a:srgbClr>
              </a:solidFill>
            </a:ln>
          </p:spPr>
          <p:txBody>
            <a:bodyPr wrap="square" lIns="360000" rtlCol="0" anchor="ctr">
              <a:noAutofit/>
            </a:bodyPr>
            <a:lstStyle/>
            <a:p>
              <a:pPr lvl="0" fontAlgn="base">
                <a:spcBef>
                  <a:spcPct val="0"/>
                </a:spcBef>
                <a:spcAft>
                  <a:spcPct val="40000"/>
                </a:spcAft>
              </a:pPr>
              <a:r>
                <a:rPr lang="en-US" sz="1400" b="1" kern="0">
                  <a:solidFill>
                    <a:srgbClr val="000000"/>
                  </a:solidFill>
                </a:rPr>
                <a:t>Setting up an agile work process will be your task</a:t>
              </a:r>
              <a:r>
                <a:rPr lang="en-US" sz="1400" kern="0">
                  <a:solidFill>
                    <a:srgbClr val="000000"/>
                  </a:solidFill>
                </a:rPr>
                <a:t>. Based on requirements (e.g. recording of working hours and activities) you can choose the tools yourself. The Scrum Master will be responsible for ensuring that the process is followed. </a:t>
              </a:r>
              <a:endParaRPr kumimoji="0" lang="de-DE" sz="140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2" name="Ellipse 111"/>
            <p:cNvSpPr/>
            <p:nvPr/>
          </p:nvSpPr>
          <p:spPr>
            <a:xfrm>
              <a:off x="3338519" y="5407794"/>
              <a:ext cx="409174" cy="411124"/>
            </a:xfrm>
            <a:prstGeom prst="ellipse">
              <a:avLst/>
            </a:prstGeom>
            <a:solidFill>
              <a:srgbClr val="FEEFD6">
                <a:lumMod val="50000"/>
              </a:srgbClr>
            </a:solidFill>
            <a:ln>
              <a:solidFill>
                <a:srgbClr val="FEEFD6">
                  <a:lumMod val="50000"/>
                </a:srgbClr>
              </a:solidFill>
            </a:ln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40000"/>
                </a:spcAft>
                <a:buClrTx/>
                <a:buSzTx/>
                <a:buFont typeface="Wingdings" pitchFamily="2" charset="2"/>
                <a:buNone/>
                <a:tabLst/>
                <a:defRPr/>
              </a:pPr>
              <a:r>
                <a:rPr kumimoji="0" lang="de-DE" sz="20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!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19784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>
                <a:cs typeface="Arial"/>
              </a:rPr>
              <a:t>Topic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© Heinz Nixdorf Institut / Fraunhofer IEM</a:t>
            </a:r>
          </a:p>
        </p:txBody>
      </p:sp>
      <p:pic>
        <p:nvPicPr>
          <p:cNvPr id="24" name="Inhaltsplatzhalter 23"/>
          <p:cNvPicPr>
            <a:picLocks noGrp="1" noChangeAspect="1"/>
          </p:cNvPicPr>
          <p:nvPr>
            <p:ph sz="quarter" idx="38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1388" y="6530747"/>
            <a:ext cx="11112" cy="6805"/>
          </a:xfrm>
        </p:spPr>
      </p:pic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5685BD5-7F70-499C-8F04-1460C72EE5D6}" type="slidenum">
              <a:rPr lang="de-DE" smtClean="0"/>
              <a:pPr/>
              <a:t>13</a:t>
            </a:fld>
            <a:endParaRPr lang="de-DE"/>
          </a:p>
        </p:txBody>
      </p:sp>
      <p:sp>
        <p:nvSpPr>
          <p:cNvPr id="9" name="Rechteck 8"/>
          <p:cNvSpPr/>
          <p:nvPr/>
        </p:nvSpPr>
        <p:spPr bwMode="auto">
          <a:xfrm>
            <a:off x="540000" y="1694779"/>
            <a:ext cx="5374724" cy="3916749"/>
          </a:xfrm>
          <a:prstGeom prst="rect">
            <a:avLst/>
          </a:prstGeom>
          <a:solidFill>
            <a:srgbClr val="EAEAE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0" lang="de-DE" sz="16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Group </a:t>
            </a:r>
            <a:r>
              <a:rPr kumimoji="0" lang="de-DE" sz="1600" b="1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Unity</a:t>
            </a:r>
            <a:endParaRPr kumimoji="0" lang="de-DE" sz="16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28" name="Rechteck 27"/>
          <p:cNvSpPr/>
          <p:nvPr/>
        </p:nvSpPr>
        <p:spPr bwMode="auto">
          <a:xfrm>
            <a:off x="5852974" y="1694779"/>
            <a:ext cx="5374724" cy="3916749"/>
          </a:xfrm>
          <a:prstGeom prst="rect">
            <a:avLst/>
          </a:prstGeom>
          <a:solidFill>
            <a:srgbClr val="EAEAE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0" lang="de-DE" sz="16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Group </a:t>
            </a:r>
            <a:r>
              <a:rPr kumimoji="0" lang="de-DE" sz="1600" b="1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Artificial</a:t>
            </a:r>
            <a:r>
              <a:rPr kumimoji="0" lang="de-DE" sz="16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 </a:t>
            </a:r>
            <a:r>
              <a:rPr kumimoji="0" lang="de-DE" sz="1600" b="1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Intelligence</a:t>
            </a:r>
            <a:endParaRPr kumimoji="0" lang="de-DE" sz="16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814926" y="2136808"/>
            <a:ext cx="2313284" cy="1544855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>
                <a:latin typeface="Arial" panose="020B0604020202020204" pitchFamily="34" charset="0"/>
                <a:cs typeface="Arial" panose="020B0604020202020204" pitchFamily="34" charset="0"/>
              </a:rPr>
              <a:t>3D Scenario reference library</a:t>
            </a:r>
            <a:endParaRPr lang="de-DE" sz="1400"/>
          </a:p>
        </p:txBody>
      </p:sp>
      <p:sp>
        <p:nvSpPr>
          <p:cNvPr id="31" name="Rechteck 30"/>
          <p:cNvSpPr/>
          <p:nvPr/>
        </p:nvSpPr>
        <p:spPr>
          <a:xfrm>
            <a:off x="3338052" y="2136808"/>
            <a:ext cx="2313284" cy="1544855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>
                <a:latin typeface="Arial" panose="020B0604020202020204" pitchFamily="34" charset="0"/>
                <a:cs typeface="Arial" panose="020B0604020202020204" pitchFamily="34" charset="0"/>
              </a:rPr>
              <a:t>3D Scenario viewer</a:t>
            </a:r>
          </a:p>
        </p:txBody>
      </p:sp>
      <p:sp>
        <p:nvSpPr>
          <p:cNvPr id="32" name="Rechteck 31"/>
          <p:cNvSpPr/>
          <p:nvPr/>
        </p:nvSpPr>
        <p:spPr>
          <a:xfrm>
            <a:off x="814926" y="3859730"/>
            <a:ext cx="2313284" cy="1544855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>
                <a:latin typeface="Arial" panose="020B0604020202020204" pitchFamily="34" charset="0"/>
                <a:cs typeface="Arial" panose="020B0604020202020204" pitchFamily="34" charset="0"/>
              </a:rPr>
              <a:t>Automatic 3D scenario generation</a:t>
            </a:r>
          </a:p>
        </p:txBody>
      </p:sp>
      <p:sp>
        <p:nvSpPr>
          <p:cNvPr id="33" name="Rechteck 32"/>
          <p:cNvSpPr/>
          <p:nvPr/>
        </p:nvSpPr>
        <p:spPr>
          <a:xfrm>
            <a:off x="3338052" y="3859730"/>
            <a:ext cx="2313284" cy="1544855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>
                <a:latin typeface="Arial" panose="020B0604020202020204" pitchFamily="34" charset="0"/>
                <a:cs typeface="Arial" panose="020B0604020202020204" pitchFamily="34" charset="0"/>
              </a:rPr>
              <a:t>3D Environment editor</a:t>
            </a:r>
          </a:p>
        </p:txBody>
      </p:sp>
      <p:sp>
        <p:nvSpPr>
          <p:cNvPr id="34" name="Rechteck 33"/>
          <p:cNvSpPr/>
          <p:nvPr/>
        </p:nvSpPr>
        <p:spPr>
          <a:xfrm>
            <a:off x="6561209" y="2136808"/>
            <a:ext cx="2313284" cy="154485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>
                <a:latin typeface="Arial" panose="020B0604020202020204" pitchFamily="34" charset="0"/>
                <a:cs typeface="Arial" panose="020B0604020202020204" pitchFamily="34" charset="0"/>
              </a:rPr>
              <a:t>Data Base, Model </a:t>
            </a:r>
            <a:r>
              <a:rPr lang="de-DE" sz="1400" err="1">
                <a:latin typeface="Arial" panose="020B0604020202020204" pitchFamily="34" charset="0"/>
                <a:cs typeface="Arial" panose="020B0604020202020204" pitchFamily="34" charset="0"/>
              </a:rPr>
              <a:t>and</a:t>
            </a:r>
            <a:r>
              <a:rPr lang="de-DE" sz="1400">
                <a:latin typeface="Arial" panose="020B0604020202020204" pitchFamily="34" charset="0"/>
                <a:cs typeface="Arial" panose="020B0604020202020204" pitchFamily="34" charset="0"/>
              </a:rPr>
              <a:t> Exchange</a:t>
            </a:r>
            <a:endParaRPr lang="de-DE" sz="1400"/>
          </a:p>
        </p:txBody>
      </p:sp>
      <p:sp>
        <p:nvSpPr>
          <p:cNvPr id="36" name="Rechteck 35"/>
          <p:cNvSpPr/>
          <p:nvPr/>
        </p:nvSpPr>
        <p:spPr>
          <a:xfrm>
            <a:off x="9084335" y="2136808"/>
            <a:ext cx="2313284" cy="154485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err="1">
                <a:latin typeface="Arial" panose="020B0604020202020204" pitchFamily="34" charset="0"/>
                <a:cs typeface="Arial" panose="020B0604020202020204" pitchFamily="34" charset="0"/>
              </a:rPr>
              <a:t>Concept</a:t>
            </a:r>
            <a:r>
              <a:rPr lang="de-DE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400" err="1">
                <a:latin typeface="Arial" panose="020B0604020202020204" pitchFamily="34" charset="0"/>
                <a:cs typeface="Arial" panose="020B0604020202020204" pitchFamily="34" charset="0"/>
              </a:rPr>
              <a:t>and</a:t>
            </a:r>
            <a:r>
              <a:rPr lang="de-DE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400" err="1">
                <a:latin typeface="Arial" panose="020B0604020202020204" pitchFamily="34" charset="0"/>
                <a:cs typeface="Arial" panose="020B0604020202020204" pitchFamily="34" charset="0"/>
              </a:rPr>
              <a:t>Architecture</a:t>
            </a:r>
            <a:r>
              <a:rPr lang="de-DE" sz="1400">
                <a:latin typeface="Arial" panose="020B0604020202020204" pitchFamily="34" charset="0"/>
                <a:cs typeface="Arial" panose="020B0604020202020204" pitchFamily="34" charset="0"/>
              </a:rPr>
              <a:t> of NLP Pipeline</a:t>
            </a:r>
          </a:p>
        </p:txBody>
      </p:sp>
      <p:sp>
        <p:nvSpPr>
          <p:cNvPr id="37" name="Rechteck 36"/>
          <p:cNvSpPr/>
          <p:nvPr/>
        </p:nvSpPr>
        <p:spPr>
          <a:xfrm>
            <a:off x="6561209" y="3859730"/>
            <a:ext cx="2313284" cy="154485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>
                <a:latin typeface="Arial" panose="020B0604020202020204" pitchFamily="34" charset="0"/>
                <a:cs typeface="Arial" panose="020B0604020202020204" pitchFamily="34" charset="0"/>
              </a:rPr>
              <a:t>Training </a:t>
            </a:r>
            <a:r>
              <a:rPr lang="de-DE" sz="1400" err="1">
                <a:latin typeface="Arial" panose="020B0604020202020204" pitchFamily="34" charset="0"/>
                <a:cs typeface="Arial" panose="020B0604020202020204" pitchFamily="34" charset="0"/>
              </a:rPr>
              <a:t>and</a:t>
            </a:r>
            <a:r>
              <a:rPr lang="de-DE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400" err="1">
                <a:latin typeface="Arial" panose="020B0604020202020204" pitchFamily="34" charset="0"/>
                <a:cs typeface="Arial" panose="020B0604020202020204" pitchFamily="34" charset="0"/>
              </a:rPr>
              <a:t>Inferencing</a:t>
            </a:r>
            <a:endParaRPr lang="de-DE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Rechteck 37"/>
          <p:cNvSpPr/>
          <p:nvPr/>
        </p:nvSpPr>
        <p:spPr>
          <a:xfrm>
            <a:off x="9084335" y="3859730"/>
            <a:ext cx="2313284" cy="154485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err="1">
                <a:latin typeface="Arial" panose="020B0604020202020204" pitchFamily="34" charset="0"/>
                <a:cs typeface="Arial" panose="020B0604020202020204" pitchFamily="34" charset="0"/>
              </a:rPr>
              <a:t>Optimization</a:t>
            </a:r>
            <a:r>
              <a:rPr lang="de-DE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400" err="1">
                <a:latin typeface="Arial" panose="020B0604020202020204" pitchFamily="34" charset="0"/>
                <a:cs typeface="Arial" panose="020B0604020202020204" pitchFamily="34" charset="0"/>
              </a:rPr>
              <a:t>and</a:t>
            </a:r>
            <a:r>
              <a:rPr lang="de-DE" sz="1400">
                <a:latin typeface="Arial" panose="020B0604020202020204" pitchFamily="34" charset="0"/>
                <a:cs typeface="Arial" panose="020B0604020202020204" pitchFamily="34" charset="0"/>
              </a:rPr>
              <a:t> Extension</a:t>
            </a:r>
          </a:p>
        </p:txBody>
      </p:sp>
    </p:spTree>
    <p:extLst>
      <p:ext uri="{BB962C8B-B14F-4D97-AF65-F5344CB8AC3E}">
        <p14:creationId xmlns:p14="http://schemas.microsoft.com/office/powerpoint/2010/main" val="3369696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Rechteck 65"/>
          <p:cNvSpPr/>
          <p:nvPr/>
        </p:nvSpPr>
        <p:spPr bwMode="auto">
          <a:xfrm>
            <a:off x="578263" y="1237149"/>
            <a:ext cx="11021384" cy="485614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179C7D"/>
            </a:solidFill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40000"/>
              </a:spcAft>
            </a:pPr>
            <a:endParaRPr lang="de-DE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>
                <a:latin typeface="Arial" panose="020B0604020202020204" pitchFamily="34" charset="0"/>
                <a:cs typeface="Arial" panose="020B0604020202020204" pitchFamily="34" charset="0"/>
              </a:rPr>
              <a:t>Kick-Off</a:t>
            </a:r>
            <a:br>
              <a:rPr lang="de-DE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2000">
                <a:solidFill>
                  <a:srgbClr val="179C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pic: </a:t>
            </a:r>
            <a:r>
              <a:rPr lang="de-DE" sz="2000" err="1">
                <a:solidFill>
                  <a:srgbClr val="179C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ity</a:t>
            </a:r>
            <a:r>
              <a:rPr lang="de-DE" sz="2000">
                <a:solidFill>
                  <a:srgbClr val="179C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- 3D Scenario </a:t>
            </a:r>
            <a:r>
              <a:rPr lang="de-DE" sz="2000" err="1">
                <a:solidFill>
                  <a:srgbClr val="179C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ference</a:t>
            </a:r>
            <a:r>
              <a:rPr lang="de-DE" sz="2000">
                <a:solidFill>
                  <a:srgbClr val="179C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2000" err="1">
                <a:solidFill>
                  <a:srgbClr val="179C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brary</a:t>
            </a:r>
            <a:endParaRPr lang="de-DE" sz="2000">
              <a:solidFill>
                <a:srgbClr val="179C7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6" name="Gruppieren 45"/>
          <p:cNvGrpSpPr/>
          <p:nvPr/>
        </p:nvGrpSpPr>
        <p:grpSpPr>
          <a:xfrm>
            <a:off x="717115" y="3717032"/>
            <a:ext cx="6005880" cy="2304256"/>
            <a:chOff x="636976" y="1403986"/>
            <a:chExt cx="2594633" cy="1495953"/>
          </a:xfrm>
        </p:grpSpPr>
        <p:sp>
          <p:nvSpPr>
            <p:cNvPr id="47" name="Rechteck 46"/>
            <p:cNvSpPr/>
            <p:nvPr/>
          </p:nvSpPr>
          <p:spPr bwMode="auto">
            <a:xfrm>
              <a:off x="636976" y="1403986"/>
              <a:ext cx="816687" cy="186995"/>
            </a:xfrm>
            <a:prstGeom prst="rect">
              <a:avLst/>
            </a:prstGeom>
            <a:solidFill>
              <a:srgbClr val="BEDBD4"/>
            </a:solidFill>
            <a:ln>
              <a:solidFill>
                <a:srgbClr val="89BEAC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40000"/>
                </a:spcAft>
              </a:pPr>
              <a:r>
                <a:rPr lang="de-DE" sz="1600" b="1">
                  <a:latin typeface="Arial" panose="020B0604020202020204" pitchFamily="34" charset="0"/>
                  <a:cs typeface="Arial" panose="020B0604020202020204" pitchFamily="34" charset="0"/>
                </a:rPr>
                <a:t>Technologies</a:t>
              </a:r>
            </a:p>
          </p:txBody>
        </p:sp>
        <p:sp>
          <p:nvSpPr>
            <p:cNvPr id="48" name="Rechteck 47"/>
            <p:cNvSpPr/>
            <p:nvPr/>
          </p:nvSpPr>
          <p:spPr bwMode="auto">
            <a:xfrm>
              <a:off x="637013" y="1590980"/>
              <a:ext cx="2594596" cy="1308959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89BEAC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40000"/>
                </a:spcAft>
              </a:pPr>
              <a:endParaRPr lang="de-DE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fontAlgn="base">
                <a:spcBef>
                  <a:spcPct val="0"/>
                </a:spcBef>
                <a:spcAft>
                  <a:spcPct val="40000"/>
                </a:spcAft>
              </a:pPr>
              <a:endParaRPr lang="de-D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82" name="Textfeld 81"/>
          <p:cNvSpPr txBox="1"/>
          <p:nvPr/>
        </p:nvSpPr>
        <p:spPr>
          <a:xfrm>
            <a:off x="6853505" y="1675817"/>
            <a:ext cx="3653311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de-DE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" name="Gruppieren 3"/>
          <p:cNvGrpSpPr/>
          <p:nvPr/>
        </p:nvGrpSpPr>
        <p:grpSpPr>
          <a:xfrm>
            <a:off x="713064" y="1323194"/>
            <a:ext cx="6005487" cy="2250906"/>
            <a:chOff x="523875" y="1406110"/>
            <a:chExt cx="5052470" cy="201568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44" name="Rechteck 43"/>
            <p:cNvSpPr/>
            <p:nvPr/>
          </p:nvSpPr>
          <p:spPr bwMode="auto">
            <a:xfrm>
              <a:off x="523875" y="1648707"/>
              <a:ext cx="5052470" cy="1773092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89BEAC"/>
              </a:solidFill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endParaRPr lang="de-DE" sz="12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5" name="Rechteck 84"/>
            <p:cNvSpPr/>
            <p:nvPr/>
          </p:nvSpPr>
          <p:spPr bwMode="auto">
            <a:xfrm>
              <a:off x="527283" y="1406110"/>
              <a:ext cx="1581343" cy="242598"/>
            </a:xfrm>
            <a:prstGeom prst="rect">
              <a:avLst/>
            </a:prstGeom>
            <a:solidFill>
              <a:srgbClr val="BEDBD4"/>
            </a:solidFill>
            <a:ln>
              <a:solidFill>
                <a:srgbClr val="89BEAC"/>
              </a:solidFill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40000"/>
                </a:spcAft>
              </a:pPr>
              <a:r>
                <a:rPr lang="de-DE" sz="1600" b="1">
                  <a:latin typeface="Arial" panose="020B0604020202020204" pitchFamily="34" charset="0"/>
                  <a:cs typeface="Arial" panose="020B0604020202020204" pitchFamily="34" charset="0"/>
                </a:rPr>
                <a:t>Tasks</a:t>
              </a:r>
            </a:p>
          </p:txBody>
        </p:sp>
      </p:grpSp>
      <p:sp>
        <p:nvSpPr>
          <p:cNvPr id="33" name="Textfeld 32"/>
          <p:cNvSpPr txBox="1"/>
          <p:nvPr/>
        </p:nvSpPr>
        <p:spPr>
          <a:xfrm>
            <a:off x="813732" y="2074661"/>
            <a:ext cx="5904819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Arial" panose="020B0604020202020204" pitchFamily="34" charset="0"/>
                <a:cs typeface="Arial" panose="020B0604020202020204" pitchFamily="34" charset="0"/>
              </a:rPr>
              <a:t>Systematic collection of security &amp; safety</a:t>
            </a:r>
            <a:br>
              <a:rPr lang="en-US" sz="140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400">
                <a:latin typeface="Arial" panose="020B0604020202020204" pitchFamily="34" charset="0"/>
                <a:cs typeface="Arial" panose="020B0604020202020204" pitchFamily="34" charset="0"/>
              </a:rPr>
              <a:t>automotive reference scenario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Arial" panose="020B0604020202020204" pitchFamily="34" charset="0"/>
                <a:cs typeface="Arial" panose="020B0604020202020204" pitchFamily="34" charset="0"/>
              </a:rPr>
              <a:t>Identification of new reference scenario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Arial" panose="020B0604020202020204" pitchFamily="34" charset="0"/>
                <a:cs typeface="Arial" panose="020B0604020202020204" pitchFamily="34" charset="0"/>
              </a:rPr>
              <a:t>Design of reference scenarios in Un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Arial" panose="020B0604020202020204" pitchFamily="34" charset="0"/>
                <a:cs typeface="Arial" panose="020B0604020202020204" pitchFamily="34" charset="0"/>
              </a:rPr>
              <a:t>Build up systematic automotive 3D model librar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3" name="Gruppieren 22"/>
          <p:cNvGrpSpPr/>
          <p:nvPr/>
        </p:nvGrpSpPr>
        <p:grpSpPr>
          <a:xfrm>
            <a:off x="6837563" y="1296519"/>
            <a:ext cx="4621798" cy="4724768"/>
            <a:chOff x="5695356" y="3717032"/>
            <a:chExt cx="3712503" cy="4724768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4" name="Rechteck 23"/>
            <p:cNvSpPr/>
            <p:nvPr/>
          </p:nvSpPr>
          <p:spPr bwMode="auto">
            <a:xfrm>
              <a:off x="5695356" y="4005065"/>
              <a:ext cx="3712503" cy="4436735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89BEAC"/>
              </a:solidFill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40000"/>
                </a:spcAft>
              </a:pPr>
              <a:endParaRPr lang="de-D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auto">
            <a:xfrm>
              <a:off x="5695356" y="3717032"/>
              <a:ext cx="1561899" cy="284862"/>
            </a:xfrm>
            <a:prstGeom prst="rect">
              <a:avLst/>
            </a:prstGeom>
            <a:solidFill>
              <a:srgbClr val="BEDBD4"/>
            </a:solidFill>
            <a:ln>
              <a:solidFill>
                <a:srgbClr val="89BEAC"/>
              </a:solidFill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40000"/>
                </a:spcAft>
              </a:pPr>
              <a:r>
                <a:rPr lang="de-DE" sz="1600" b="1">
                  <a:latin typeface="Arial" panose="020B0604020202020204" pitchFamily="34" charset="0"/>
                  <a:cs typeface="Arial" panose="020B0604020202020204" pitchFamily="34" charset="0"/>
                </a:rPr>
                <a:t>Sketch</a:t>
              </a:r>
              <a:endParaRPr lang="de-DE" sz="1400" b="1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8" name="Rechteck 7"/>
          <p:cNvSpPr/>
          <p:nvPr/>
        </p:nvSpPr>
        <p:spPr bwMode="auto">
          <a:xfrm>
            <a:off x="8137083" y="1818499"/>
            <a:ext cx="2323375" cy="144735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40000"/>
              </a:spcAft>
            </a:pPr>
            <a:endParaRPr lang="de-DE">
              <a:latin typeface="Frutiger LT Com 55 Roman" pitchFamily="34" charset="0"/>
            </a:endParaRPr>
          </a:p>
        </p:txBody>
      </p:sp>
      <p:sp>
        <p:nvSpPr>
          <p:cNvPr id="27" name="Textfeld 26"/>
          <p:cNvSpPr txBox="1"/>
          <p:nvPr/>
        </p:nvSpPr>
        <p:spPr>
          <a:xfrm>
            <a:off x="9808859" y="987111"/>
            <a:ext cx="1728192" cy="307777"/>
          </a:xfrm>
          <a:prstGeom prst="rect">
            <a:avLst/>
          </a:prstGeom>
          <a:solidFill>
            <a:srgbClr val="1B9D83"/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>
            <a:defPPr>
              <a:defRPr lang="de-DE"/>
            </a:defPPr>
            <a:lvl1pPr algn="ctr">
              <a:spcAft>
                <a:spcPts val="0"/>
              </a:spcAft>
              <a:defRPr sz="1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Group Unity</a:t>
            </a:r>
          </a:p>
        </p:txBody>
      </p:sp>
      <p:pic>
        <p:nvPicPr>
          <p:cNvPr id="4098" name="Picture 2" descr="https://www.gruenderszene.de/thumb.php?src=%2Fwp-content%2Fuploads%2F2018%2F02%2F17C140_004.jpg&amp;w=610&amp;h=407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15725" y="2191829"/>
            <a:ext cx="4482304" cy="29906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Textfeld 25"/>
          <p:cNvSpPr txBox="1"/>
          <p:nvPr/>
        </p:nvSpPr>
        <p:spPr>
          <a:xfrm>
            <a:off x="854837" y="4490637"/>
            <a:ext cx="590481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Arial" panose="020B0604020202020204" pitchFamily="34" charset="0"/>
                <a:cs typeface="Arial" panose="020B0604020202020204" pitchFamily="34" charset="0"/>
              </a:rPr>
              <a:t>Unity 3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Arial" panose="020B0604020202020204" pitchFamily="34" charset="0"/>
                <a:cs typeface="Arial" panose="020B0604020202020204" pitchFamily="34" charset="0"/>
              </a:rPr>
              <a:t>Online 3D model libraries (Unity Asset Store, </a:t>
            </a:r>
            <a:r>
              <a:rPr lang="en-US" sz="1400" err="1">
                <a:latin typeface="Arial" panose="020B0604020202020204" pitchFamily="34" charset="0"/>
                <a:cs typeface="Arial" panose="020B0604020202020204" pitchFamily="34" charset="0"/>
              </a:rPr>
              <a:t>Scetchfab</a:t>
            </a:r>
            <a:r>
              <a:rPr lang="en-US" sz="1400">
                <a:latin typeface="Arial" panose="020B0604020202020204" pitchFamily="34" charset="0"/>
                <a:cs typeface="Arial" panose="020B0604020202020204" pitchFamily="34" charset="0"/>
              </a:rPr>
              <a:t>, …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Arial" panose="020B0604020202020204" pitchFamily="34" charset="0"/>
                <a:cs typeface="Arial" panose="020B0604020202020204" pitchFamily="34" charset="0"/>
              </a:rPr>
              <a:t>Google: Literature research on reference scenarios</a:t>
            </a:r>
          </a:p>
          <a:p>
            <a:endParaRPr lang="en-US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008076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Rechteck 65"/>
          <p:cNvSpPr/>
          <p:nvPr/>
        </p:nvSpPr>
        <p:spPr bwMode="auto">
          <a:xfrm>
            <a:off x="578263" y="1237149"/>
            <a:ext cx="11021384" cy="485614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179C7D"/>
            </a:solidFill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40000"/>
              </a:spcAft>
            </a:pPr>
            <a:endParaRPr lang="de-DE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>
                <a:latin typeface="Arial" panose="020B0604020202020204" pitchFamily="34" charset="0"/>
                <a:cs typeface="Arial" panose="020B0604020202020204" pitchFamily="34" charset="0"/>
              </a:rPr>
              <a:t>Kick-Off</a:t>
            </a:r>
            <a:br>
              <a:rPr lang="de-DE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2000">
                <a:solidFill>
                  <a:srgbClr val="179C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pic: </a:t>
            </a:r>
            <a:r>
              <a:rPr lang="de-DE" sz="2000" err="1">
                <a:solidFill>
                  <a:srgbClr val="179C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ity</a:t>
            </a:r>
            <a:r>
              <a:rPr lang="de-DE" sz="2000">
                <a:solidFill>
                  <a:srgbClr val="179C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- 3D Scenario </a:t>
            </a:r>
            <a:r>
              <a:rPr lang="de-DE" sz="2000" err="1">
                <a:solidFill>
                  <a:srgbClr val="179C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ewer</a:t>
            </a:r>
            <a:endParaRPr lang="de-DE" sz="2000">
              <a:solidFill>
                <a:srgbClr val="179C7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6" name="Gruppieren 45"/>
          <p:cNvGrpSpPr/>
          <p:nvPr/>
        </p:nvGrpSpPr>
        <p:grpSpPr>
          <a:xfrm>
            <a:off x="717115" y="3717032"/>
            <a:ext cx="6005880" cy="2304256"/>
            <a:chOff x="636976" y="1403986"/>
            <a:chExt cx="2594633" cy="1495953"/>
          </a:xfrm>
        </p:grpSpPr>
        <p:sp>
          <p:nvSpPr>
            <p:cNvPr id="47" name="Rechteck 46"/>
            <p:cNvSpPr/>
            <p:nvPr/>
          </p:nvSpPr>
          <p:spPr bwMode="auto">
            <a:xfrm>
              <a:off x="636976" y="1403986"/>
              <a:ext cx="816687" cy="186995"/>
            </a:xfrm>
            <a:prstGeom prst="rect">
              <a:avLst/>
            </a:prstGeom>
            <a:solidFill>
              <a:srgbClr val="BEDBD4"/>
            </a:solidFill>
            <a:ln>
              <a:solidFill>
                <a:srgbClr val="89BEAC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40000"/>
                </a:spcAft>
              </a:pPr>
              <a:r>
                <a:rPr lang="de-DE" sz="1600" b="1">
                  <a:latin typeface="Arial" panose="020B0604020202020204" pitchFamily="34" charset="0"/>
                  <a:cs typeface="Arial" panose="020B0604020202020204" pitchFamily="34" charset="0"/>
                </a:rPr>
                <a:t>Technologies</a:t>
              </a:r>
            </a:p>
          </p:txBody>
        </p:sp>
        <p:sp>
          <p:nvSpPr>
            <p:cNvPr id="48" name="Rechteck 47"/>
            <p:cNvSpPr/>
            <p:nvPr/>
          </p:nvSpPr>
          <p:spPr bwMode="auto">
            <a:xfrm>
              <a:off x="637013" y="1590980"/>
              <a:ext cx="2594596" cy="1308959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89BEAC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40000"/>
                </a:spcAft>
              </a:pPr>
              <a:endParaRPr lang="de-DE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fontAlgn="base">
                <a:spcBef>
                  <a:spcPct val="0"/>
                </a:spcBef>
                <a:spcAft>
                  <a:spcPct val="40000"/>
                </a:spcAft>
              </a:pPr>
              <a:endParaRPr lang="de-D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82" name="Textfeld 81"/>
          <p:cNvSpPr txBox="1"/>
          <p:nvPr/>
        </p:nvSpPr>
        <p:spPr>
          <a:xfrm>
            <a:off x="6853505" y="1675817"/>
            <a:ext cx="3653311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de-DE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" name="Gruppieren 3"/>
          <p:cNvGrpSpPr/>
          <p:nvPr/>
        </p:nvGrpSpPr>
        <p:grpSpPr>
          <a:xfrm>
            <a:off x="713064" y="1323194"/>
            <a:ext cx="6005487" cy="2250906"/>
            <a:chOff x="523875" y="1406110"/>
            <a:chExt cx="5052470" cy="201568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44" name="Rechteck 43"/>
            <p:cNvSpPr/>
            <p:nvPr/>
          </p:nvSpPr>
          <p:spPr bwMode="auto">
            <a:xfrm>
              <a:off x="523875" y="1648707"/>
              <a:ext cx="5052470" cy="1773092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89BEAC"/>
              </a:solidFill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endParaRPr lang="de-DE" sz="12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5" name="Rechteck 84"/>
            <p:cNvSpPr/>
            <p:nvPr/>
          </p:nvSpPr>
          <p:spPr bwMode="auto">
            <a:xfrm>
              <a:off x="527283" y="1406110"/>
              <a:ext cx="1581343" cy="242598"/>
            </a:xfrm>
            <a:prstGeom prst="rect">
              <a:avLst/>
            </a:prstGeom>
            <a:solidFill>
              <a:srgbClr val="BEDBD4"/>
            </a:solidFill>
            <a:ln>
              <a:solidFill>
                <a:srgbClr val="89BEAC"/>
              </a:solidFill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40000"/>
                </a:spcAft>
              </a:pPr>
              <a:r>
                <a:rPr lang="de-DE" sz="1600" b="1">
                  <a:latin typeface="Arial" panose="020B0604020202020204" pitchFamily="34" charset="0"/>
                  <a:cs typeface="Arial" panose="020B0604020202020204" pitchFamily="34" charset="0"/>
                </a:rPr>
                <a:t>Tasks</a:t>
              </a:r>
            </a:p>
          </p:txBody>
        </p:sp>
      </p:grpSp>
      <p:sp>
        <p:nvSpPr>
          <p:cNvPr id="33" name="Textfeld 32"/>
          <p:cNvSpPr txBox="1"/>
          <p:nvPr/>
        </p:nvSpPr>
        <p:spPr>
          <a:xfrm>
            <a:off x="813732" y="2229828"/>
            <a:ext cx="5904819" cy="738664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Arial" panose="020B0604020202020204" pitchFamily="34" charset="0"/>
                <a:cs typeface="Arial" panose="020B0604020202020204" pitchFamily="34" charset="0"/>
              </a:rPr>
              <a:t>Develop intuitive viewer for created 3D scenario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Arial"/>
                <a:cs typeface="Arial"/>
              </a:rPr>
              <a:t>Load selected scenarios in 3D Engine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Arial"/>
                <a:cs typeface="Arial"/>
              </a:rPr>
              <a:t>AR/VR - Deployment to Oculus Quest, iOS-Tablet etc.</a:t>
            </a:r>
            <a:endParaRPr lang="en-US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3" name="Gruppieren 22"/>
          <p:cNvGrpSpPr/>
          <p:nvPr/>
        </p:nvGrpSpPr>
        <p:grpSpPr>
          <a:xfrm>
            <a:off x="6837563" y="1296519"/>
            <a:ext cx="4621798" cy="4724768"/>
            <a:chOff x="5695356" y="3717032"/>
            <a:chExt cx="3712503" cy="4724768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4" name="Rechteck 23"/>
            <p:cNvSpPr/>
            <p:nvPr/>
          </p:nvSpPr>
          <p:spPr bwMode="auto">
            <a:xfrm>
              <a:off x="5695356" y="4005065"/>
              <a:ext cx="3712503" cy="4436735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89BEAC"/>
              </a:solidFill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40000"/>
                </a:spcAft>
              </a:pPr>
              <a:endParaRPr lang="de-D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auto">
            <a:xfrm>
              <a:off x="5695356" y="3717032"/>
              <a:ext cx="1561899" cy="284862"/>
            </a:xfrm>
            <a:prstGeom prst="rect">
              <a:avLst/>
            </a:prstGeom>
            <a:solidFill>
              <a:srgbClr val="BEDBD4"/>
            </a:solidFill>
            <a:ln>
              <a:solidFill>
                <a:srgbClr val="89BEAC"/>
              </a:solidFill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40000"/>
                </a:spcAft>
              </a:pPr>
              <a:r>
                <a:rPr lang="de-DE" sz="1600" b="1">
                  <a:latin typeface="Arial" panose="020B0604020202020204" pitchFamily="34" charset="0"/>
                  <a:cs typeface="Arial" panose="020B0604020202020204" pitchFamily="34" charset="0"/>
                </a:rPr>
                <a:t>Sketch</a:t>
              </a:r>
              <a:endParaRPr lang="de-DE" sz="1400" b="1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8" name="Rechteck 7"/>
          <p:cNvSpPr/>
          <p:nvPr/>
        </p:nvSpPr>
        <p:spPr bwMode="auto">
          <a:xfrm>
            <a:off x="8137083" y="1818499"/>
            <a:ext cx="2323375" cy="144735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40000"/>
              </a:spcAft>
            </a:pPr>
            <a:endParaRPr lang="de-DE">
              <a:latin typeface="Frutiger LT Com 55 Roman" pitchFamily="34" charset="0"/>
            </a:endParaRPr>
          </a:p>
        </p:txBody>
      </p:sp>
      <p:sp>
        <p:nvSpPr>
          <p:cNvPr id="27" name="Textfeld 26"/>
          <p:cNvSpPr txBox="1"/>
          <p:nvPr/>
        </p:nvSpPr>
        <p:spPr>
          <a:xfrm>
            <a:off x="9808859" y="987111"/>
            <a:ext cx="1728192" cy="307777"/>
          </a:xfrm>
          <a:prstGeom prst="rect">
            <a:avLst/>
          </a:prstGeom>
          <a:solidFill>
            <a:srgbClr val="1B9D83"/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>
            <a:defPPr>
              <a:defRPr lang="de-DE"/>
            </a:defPPr>
            <a:lvl1pPr algn="ctr">
              <a:spcAft>
                <a:spcPts val="0"/>
              </a:spcAft>
              <a:defRPr sz="1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Group Unity</a:t>
            </a:r>
          </a:p>
        </p:txBody>
      </p:sp>
      <p:sp>
        <p:nvSpPr>
          <p:cNvPr id="26" name="Textfeld 25"/>
          <p:cNvSpPr txBox="1"/>
          <p:nvPr/>
        </p:nvSpPr>
        <p:spPr>
          <a:xfrm>
            <a:off x="854837" y="4490637"/>
            <a:ext cx="5904819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Arial" panose="020B0604020202020204" pitchFamily="34" charset="0"/>
                <a:cs typeface="Arial" panose="020B0604020202020204" pitchFamily="34" charset="0"/>
              </a:rPr>
              <a:t>Unity 3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Arial" panose="020B0604020202020204" pitchFamily="34" charset="0"/>
                <a:cs typeface="Arial" panose="020B0604020202020204" pitchFamily="34" charset="0"/>
              </a:rPr>
              <a:t>Visual Studio C#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Arial" panose="020B0604020202020204" pitchFamily="34" charset="0"/>
                <a:cs typeface="Arial" panose="020B0604020202020204" pitchFamily="34" charset="0"/>
              </a:rPr>
              <a:t>Google: Literature research</a:t>
            </a:r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42" t="11525" r="16790" b="9334"/>
          <a:stretch/>
        </p:blipFill>
        <p:spPr>
          <a:xfrm>
            <a:off x="7327865" y="1640751"/>
            <a:ext cx="3672617" cy="4333726"/>
          </a:xfrm>
          <a:prstGeom prst="rect">
            <a:avLst/>
          </a:prstGeom>
        </p:spPr>
      </p:pic>
      <p:pic>
        <p:nvPicPr>
          <p:cNvPr id="4098" name="Picture 2" descr="https://www.gruenderszene.de/thumb.php?src=%2Fwp-content%2Fuploads%2F2018%2F02%2F17C140_004.jpg&amp;w=610&amp;h=40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52826" y="2047745"/>
            <a:ext cx="1057087" cy="7053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2" descr="https://www.gruenderszene.de/thumb.php?src=%2Fwp-content%2Fuploads%2F2018%2F02%2F17C140_004.jpg&amp;w=610&amp;h=40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69003" y="2047745"/>
            <a:ext cx="1057087" cy="7053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2" descr="https://www.gruenderszene.de/thumb.php?src=%2Fwp-content%2Fuploads%2F2018%2F02%2F17C140_004.jpg&amp;w=610&amp;h=40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52826" y="2775707"/>
            <a:ext cx="1057087" cy="7053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2" descr="https://www.gruenderszene.de/thumb.php?src=%2Fwp-content%2Fuploads%2F2018%2F02%2F17C140_004.jpg&amp;w=610&amp;h=40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69003" y="2775707"/>
            <a:ext cx="1057087" cy="7053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2" descr="https://www.gruenderszene.de/thumb.php?src=%2Fwp-content%2Fuploads%2F2018%2F02%2F17C140_004.jpg&amp;w=610&amp;h=40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58437" y="3532672"/>
            <a:ext cx="1057087" cy="7053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2" descr="https://www.gruenderszene.de/thumb.php?src=%2Fwp-content%2Fuploads%2F2018%2F02%2F17C140_004.jpg&amp;w=610&amp;h=40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4614" y="3532672"/>
            <a:ext cx="1057087" cy="7053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2" descr="https://www.gruenderszene.de/thumb.php?src=%2Fwp-content%2Fuploads%2F2018%2F02%2F17C140_004.jpg&amp;w=610&amp;h=40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52826" y="4276375"/>
            <a:ext cx="1057087" cy="7053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2" descr="https://www.gruenderszene.de/thumb.php?src=%2Fwp-content%2Fuploads%2F2018%2F02%2F17C140_004.jpg&amp;w=610&amp;h=40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69003" y="4276375"/>
            <a:ext cx="1057087" cy="7053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7008506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Rechteck 65"/>
          <p:cNvSpPr/>
          <p:nvPr/>
        </p:nvSpPr>
        <p:spPr bwMode="auto">
          <a:xfrm>
            <a:off x="578263" y="1237149"/>
            <a:ext cx="11021384" cy="485614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179C7D"/>
            </a:solidFill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40000"/>
              </a:spcAft>
            </a:pPr>
            <a:endParaRPr lang="de-DE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>
                <a:latin typeface="Arial" panose="020B0604020202020204" pitchFamily="34" charset="0"/>
                <a:cs typeface="Arial" panose="020B0604020202020204" pitchFamily="34" charset="0"/>
              </a:rPr>
              <a:t>Kick-Off</a:t>
            </a:r>
            <a:br>
              <a:rPr lang="de-DE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2000">
                <a:solidFill>
                  <a:srgbClr val="179C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pic: </a:t>
            </a:r>
            <a:r>
              <a:rPr lang="de-DE" sz="2000" err="1">
                <a:solidFill>
                  <a:srgbClr val="179C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ity</a:t>
            </a:r>
            <a:r>
              <a:rPr lang="de-DE" sz="2000">
                <a:solidFill>
                  <a:srgbClr val="179C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- 3D </a:t>
            </a:r>
            <a:r>
              <a:rPr lang="de-DE" sz="2000" err="1">
                <a:solidFill>
                  <a:srgbClr val="179C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vironment</a:t>
            </a:r>
            <a:r>
              <a:rPr lang="de-DE" sz="2000">
                <a:solidFill>
                  <a:srgbClr val="179C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2000" err="1">
                <a:solidFill>
                  <a:srgbClr val="179C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ditor</a:t>
            </a:r>
            <a:endParaRPr lang="de-DE" sz="2000">
              <a:solidFill>
                <a:srgbClr val="179C7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6" name="Gruppieren 45"/>
          <p:cNvGrpSpPr/>
          <p:nvPr/>
        </p:nvGrpSpPr>
        <p:grpSpPr>
          <a:xfrm>
            <a:off x="717115" y="3717032"/>
            <a:ext cx="6005880" cy="2304256"/>
            <a:chOff x="636976" y="1403986"/>
            <a:chExt cx="2594633" cy="1495953"/>
          </a:xfrm>
        </p:grpSpPr>
        <p:sp>
          <p:nvSpPr>
            <p:cNvPr id="47" name="Rechteck 46"/>
            <p:cNvSpPr/>
            <p:nvPr/>
          </p:nvSpPr>
          <p:spPr bwMode="auto">
            <a:xfrm>
              <a:off x="636976" y="1403986"/>
              <a:ext cx="816687" cy="186995"/>
            </a:xfrm>
            <a:prstGeom prst="rect">
              <a:avLst/>
            </a:prstGeom>
            <a:solidFill>
              <a:srgbClr val="BEDBD4"/>
            </a:solidFill>
            <a:ln>
              <a:solidFill>
                <a:srgbClr val="89BEAC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40000"/>
                </a:spcAft>
              </a:pPr>
              <a:r>
                <a:rPr lang="de-DE" sz="1600" b="1">
                  <a:latin typeface="Arial" panose="020B0604020202020204" pitchFamily="34" charset="0"/>
                  <a:cs typeface="Arial" panose="020B0604020202020204" pitchFamily="34" charset="0"/>
                </a:rPr>
                <a:t>Technologies</a:t>
              </a:r>
            </a:p>
          </p:txBody>
        </p:sp>
        <p:sp>
          <p:nvSpPr>
            <p:cNvPr id="48" name="Rechteck 47"/>
            <p:cNvSpPr/>
            <p:nvPr/>
          </p:nvSpPr>
          <p:spPr bwMode="auto">
            <a:xfrm>
              <a:off x="637013" y="1590980"/>
              <a:ext cx="2594596" cy="1308959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89BEAC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40000"/>
                </a:spcAft>
              </a:pPr>
              <a:endParaRPr lang="de-DE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fontAlgn="base">
                <a:spcBef>
                  <a:spcPct val="0"/>
                </a:spcBef>
                <a:spcAft>
                  <a:spcPct val="40000"/>
                </a:spcAft>
              </a:pPr>
              <a:endParaRPr lang="de-D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82" name="Textfeld 81"/>
          <p:cNvSpPr txBox="1"/>
          <p:nvPr/>
        </p:nvSpPr>
        <p:spPr>
          <a:xfrm>
            <a:off x="6853505" y="1675817"/>
            <a:ext cx="3653311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de-DE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" name="Gruppieren 3"/>
          <p:cNvGrpSpPr/>
          <p:nvPr/>
        </p:nvGrpSpPr>
        <p:grpSpPr>
          <a:xfrm>
            <a:off x="713064" y="1323194"/>
            <a:ext cx="6005487" cy="2250906"/>
            <a:chOff x="523875" y="1406110"/>
            <a:chExt cx="5052470" cy="201568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44" name="Rechteck 43"/>
            <p:cNvSpPr/>
            <p:nvPr/>
          </p:nvSpPr>
          <p:spPr bwMode="auto">
            <a:xfrm>
              <a:off x="523875" y="1648707"/>
              <a:ext cx="5052470" cy="1773092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89BEAC"/>
              </a:solidFill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endParaRPr lang="de-DE" sz="12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5" name="Rechteck 84"/>
            <p:cNvSpPr/>
            <p:nvPr/>
          </p:nvSpPr>
          <p:spPr bwMode="auto">
            <a:xfrm>
              <a:off x="527283" y="1406110"/>
              <a:ext cx="1581343" cy="242598"/>
            </a:xfrm>
            <a:prstGeom prst="rect">
              <a:avLst/>
            </a:prstGeom>
            <a:solidFill>
              <a:srgbClr val="BEDBD4"/>
            </a:solidFill>
            <a:ln>
              <a:solidFill>
                <a:srgbClr val="89BEAC"/>
              </a:solidFill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40000"/>
                </a:spcAft>
              </a:pPr>
              <a:r>
                <a:rPr lang="de-DE" sz="1600" b="1">
                  <a:latin typeface="Arial" panose="020B0604020202020204" pitchFamily="34" charset="0"/>
                  <a:cs typeface="Arial" panose="020B0604020202020204" pitchFamily="34" charset="0"/>
                </a:rPr>
                <a:t>Tasks</a:t>
              </a:r>
            </a:p>
          </p:txBody>
        </p:sp>
      </p:grpSp>
      <p:sp>
        <p:nvSpPr>
          <p:cNvPr id="33" name="Textfeld 32"/>
          <p:cNvSpPr txBox="1"/>
          <p:nvPr/>
        </p:nvSpPr>
        <p:spPr>
          <a:xfrm>
            <a:off x="813732" y="2229828"/>
            <a:ext cx="5904819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Arial" panose="020B0604020202020204" pitchFamily="34" charset="0"/>
                <a:cs typeface="Arial" panose="020B0604020202020204" pitchFamily="34" charset="0"/>
              </a:rPr>
              <a:t>Develop intuitive environment editor for creating rooms, factory halls, basically every environment for a technical syste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Arial" panose="020B0604020202020204" pitchFamily="34" charset="0"/>
                <a:cs typeface="Arial" panose="020B0604020202020204" pitchFamily="34" charset="0"/>
              </a:rPr>
              <a:t>Create reference </a:t>
            </a:r>
            <a:r>
              <a:rPr lang="en-US" sz="1400" err="1">
                <a:latin typeface="Arial" panose="020B0604020202020204" pitchFamily="34" charset="0"/>
                <a:cs typeface="Arial" panose="020B0604020202020204" pitchFamily="34" charset="0"/>
              </a:rPr>
              <a:t>enviroments</a:t>
            </a:r>
            <a:endParaRPr lang="en-US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3" name="Gruppieren 22"/>
          <p:cNvGrpSpPr/>
          <p:nvPr/>
        </p:nvGrpSpPr>
        <p:grpSpPr>
          <a:xfrm>
            <a:off x="6837563" y="1296519"/>
            <a:ext cx="4621798" cy="4724768"/>
            <a:chOff x="5695356" y="3717032"/>
            <a:chExt cx="3712503" cy="4724768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4" name="Rechteck 23"/>
            <p:cNvSpPr/>
            <p:nvPr/>
          </p:nvSpPr>
          <p:spPr bwMode="auto">
            <a:xfrm>
              <a:off x="5695356" y="4005065"/>
              <a:ext cx="3712503" cy="4436735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89BEAC"/>
              </a:solidFill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40000"/>
                </a:spcAft>
              </a:pPr>
              <a:endParaRPr lang="de-D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auto">
            <a:xfrm>
              <a:off x="5695356" y="3717032"/>
              <a:ext cx="1561899" cy="284862"/>
            </a:xfrm>
            <a:prstGeom prst="rect">
              <a:avLst/>
            </a:prstGeom>
            <a:solidFill>
              <a:srgbClr val="BEDBD4"/>
            </a:solidFill>
            <a:ln>
              <a:solidFill>
                <a:srgbClr val="89BEAC"/>
              </a:solidFill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40000"/>
                </a:spcAft>
              </a:pPr>
              <a:r>
                <a:rPr lang="de-DE" sz="1600" b="1">
                  <a:latin typeface="Arial" panose="020B0604020202020204" pitchFamily="34" charset="0"/>
                  <a:cs typeface="Arial" panose="020B0604020202020204" pitchFamily="34" charset="0"/>
                </a:rPr>
                <a:t>Sketch</a:t>
              </a:r>
              <a:endParaRPr lang="de-DE" sz="1400" b="1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8" name="Rechteck 7"/>
          <p:cNvSpPr/>
          <p:nvPr/>
        </p:nvSpPr>
        <p:spPr bwMode="auto">
          <a:xfrm>
            <a:off x="8137083" y="1818499"/>
            <a:ext cx="2323375" cy="144735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40000"/>
              </a:spcAft>
            </a:pPr>
            <a:endParaRPr lang="de-DE">
              <a:latin typeface="Frutiger LT Com 55 Roman" pitchFamily="34" charset="0"/>
            </a:endParaRPr>
          </a:p>
        </p:txBody>
      </p:sp>
      <p:sp>
        <p:nvSpPr>
          <p:cNvPr id="27" name="Textfeld 26"/>
          <p:cNvSpPr txBox="1"/>
          <p:nvPr/>
        </p:nvSpPr>
        <p:spPr>
          <a:xfrm>
            <a:off x="9808859" y="987111"/>
            <a:ext cx="1728192" cy="307777"/>
          </a:xfrm>
          <a:prstGeom prst="rect">
            <a:avLst/>
          </a:prstGeom>
          <a:solidFill>
            <a:srgbClr val="1B9D83"/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>
            <a:defPPr>
              <a:defRPr lang="de-DE"/>
            </a:defPPr>
            <a:lvl1pPr algn="ctr">
              <a:spcAft>
                <a:spcPts val="0"/>
              </a:spcAft>
              <a:defRPr sz="1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Group Unity</a:t>
            </a:r>
          </a:p>
        </p:txBody>
      </p:sp>
      <p:sp>
        <p:nvSpPr>
          <p:cNvPr id="26" name="Textfeld 25"/>
          <p:cNvSpPr txBox="1"/>
          <p:nvPr/>
        </p:nvSpPr>
        <p:spPr>
          <a:xfrm>
            <a:off x="854837" y="4490637"/>
            <a:ext cx="590481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Arial" panose="020B0604020202020204" pitchFamily="34" charset="0"/>
                <a:cs typeface="Arial" panose="020B0604020202020204" pitchFamily="34" charset="0"/>
              </a:rPr>
              <a:t>Unity 3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Arial" panose="020B0604020202020204" pitchFamily="34" charset="0"/>
                <a:cs typeface="Arial" panose="020B0604020202020204" pitchFamily="34" charset="0"/>
              </a:rPr>
              <a:t>Snap technolog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Arial" panose="020B0604020202020204" pitchFamily="34" charset="0"/>
                <a:cs typeface="Arial" panose="020B0604020202020204" pitchFamily="34" charset="0"/>
              </a:rPr>
              <a:t>Visual Studio C#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Arial" panose="020B0604020202020204" pitchFamily="34" charset="0"/>
                <a:cs typeface="Arial" panose="020B0604020202020204" pitchFamily="34" charset="0"/>
              </a:rPr>
              <a:t>Google: Literature research</a:t>
            </a:r>
          </a:p>
        </p:txBody>
      </p:sp>
      <p:pic>
        <p:nvPicPr>
          <p:cNvPr id="6146" name="Picture 2" descr="Ähnliches Foto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9895" y="2483730"/>
            <a:ext cx="4197134" cy="26232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654291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Rechteck 65"/>
          <p:cNvSpPr/>
          <p:nvPr/>
        </p:nvSpPr>
        <p:spPr bwMode="auto">
          <a:xfrm>
            <a:off x="578263" y="1237149"/>
            <a:ext cx="11021384" cy="485614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179C7D"/>
            </a:solidFill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40000"/>
              </a:spcAft>
            </a:pPr>
            <a:endParaRPr lang="de-DE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>
                <a:latin typeface="Arial" panose="020B0604020202020204" pitchFamily="34" charset="0"/>
                <a:cs typeface="Arial" panose="020B0604020202020204" pitchFamily="34" charset="0"/>
              </a:rPr>
              <a:t>Kick-Off</a:t>
            </a:r>
            <a:br>
              <a:rPr lang="de-DE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2000">
                <a:solidFill>
                  <a:srgbClr val="179C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pic: </a:t>
            </a:r>
            <a:r>
              <a:rPr lang="de-DE" sz="2000" err="1">
                <a:solidFill>
                  <a:srgbClr val="179C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ity</a:t>
            </a:r>
            <a:r>
              <a:rPr lang="de-DE" sz="2000">
                <a:solidFill>
                  <a:srgbClr val="179C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- </a:t>
            </a:r>
            <a:r>
              <a:rPr lang="de-DE" sz="2000" err="1">
                <a:solidFill>
                  <a:srgbClr val="179C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tomatic</a:t>
            </a:r>
            <a:r>
              <a:rPr lang="de-DE" sz="2000">
                <a:solidFill>
                  <a:srgbClr val="179C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3D </a:t>
            </a:r>
            <a:r>
              <a:rPr lang="de-DE" sz="2000" err="1">
                <a:solidFill>
                  <a:srgbClr val="179C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enario</a:t>
            </a:r>
            <a:r>
              <a:rPr lang="de-DE" sz="2000">
                <a:solidFill>
                  <a:srgbClr val="179C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2000" err="1">
                <a:solidFill>
                  <a:srgbClr val="179C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neration</a:t>
            </a:r>
            <a:endParaRPr lang="de-DE" sz="2000">
              <a:solidFill>
                <a:srgbClr val="179C7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6" name="Gruppieren 45"/>
          <p:cNvGrpSpPr/>
          <p:nvPr/>
        </p:nvGrpSpPr>
        <p:grpSpPr>
          <a:xfrm>
            <a:off x="717115" y="3717032"/>
            <a:ext cx="6005880" cy="2304256"/>
            <a:chOff x="636976" y="1403986"/>
            <a:chExt cx="2594633" cy="1495953"/>
          </a:xfrm>
        </p:grpSpPr>
        <p:sp>
          <p:nvSpPr>
            <p:cNvPr id="47" name="Rechteck 46"/>
            <p:cNvSpPr/>
            <p:nvPr/>
          </p:nvSpPr>
          <p:spPr bwMode="auto">
            <a:xfrm>
              <a:off x="636976" y="1403986"/>
              <a:ext cx="816687" cy="186995"/>
            </a:xfrm>
            <a:prstGeom prst="rect">
              <a:avLst/>
            </a:prstGeom>
            <a:solidFill>
              <a:srgbClr val="BEDBD4"/>
            </a:solidFill>
            <a:ln>
              <a:solidFill>
                <a:srgbClr val="89BEAC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40000"/>
                </a:spcAft>
              </a:pPr>
              <a:r>
                <a:rPr lang="de-DE" sz="1600" b="1">
                  <a:latin typeface="Arial" panose="020B0604020202020204" pitchFamily="34" charset="0"/>
                  <a:cs typeface="Arial" panose="020B0604020202020204" pitchFamily="34" charset="0"/>
                </a:rPr>
                <a:t>Technologies</a:t>
              </a:r>
            </a:p>
          </p:txBody>
        </p:sp>
        <p:sp>
          <p:nvSpPr>
            <p:cNvPr id="48" name="Rechteck 47"/>
            <p:cNvSpPr/>
            <p:nvPr/>
          </p:nvSpPr>
          <p:spPr bwMode="auto">
            <a:xfrm>
              <a:off x="637013" y="1590980"/>
              <a:ext cx="2594596" cy="1308959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89BEAC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40000"/>
                </a:spcAft>
              </a:pPr>
              <a:endParaRPr lang="de-DE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fontAlgn="base">
                <a:spcBef>
                  <a:spcPct val="0"/>
                </a:spcBef>
                <a:spcAft>
                  <a:spcPct val="40000"/>
                </a:spcAft>
              </a:pPr>
              <a:endParaRPr lang="de-D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82" name="Textfeld 81"/>
          <p:cNvSpPr txBox="1"/>
          <p:nvPr/>
        </p:nvSpPr>
        <p:spPr>
          <a:xfrm>
            <a:off x="6853505" y="1675817"/>
            <a:ext cx="3653311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de-DE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" name="Gruppieren 3"/>
          <p:cNvGrpSpPr/>
          <p:nvPr/>
        </p:nvGrpSpPr>
        <p:grpSpPr>
          <a:xfrm>
            <a:off x="713064" y="1323194"/>
            <a:ext cx="6005487" cy="2250906"/>
            <a:chOff x="523875" y="1406110"/>
            <a:chExt cx="5052470" cy="201568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44" name="Rechteck 43"/>
            <p:cNvSpPr/>
            <p:nvPr/>
          </p:nvSpPr>
          <p:spPr bwMode="auto">
            <a:xfrm>
              <a:off x="523875" y="1648707"/>
              <a:ext cx="5052470" cy="1773092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89BEAC"/>
              </a:solidFill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endParaRPr lang="de-DE" sz="12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5" name="Rechteck 84"/>
            <p:cNvSpPr/>
            <p:nvPr/>
          </p:nvSpPr>
          <p:spPr bwMode="auto">
            <a:xfrm>
              <a:off x="527283" y="1406110"/>
              <a:ext cx="1581343" cy="242598"/>
            </a:xfrm>
            <a:prstGeom prst="rect">
              <a:avLst/>
            </a:prstGeom>
            <a:solidFill>
              <a:srgbClr val="BEDBD4"/>
            </a:solidFill>
            <a:ln>
              <a:solidFill>
                <a:srgbClr val="89BEAC"/>
              </a:solidFill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40000"/>
                </a:spcAft>
              </a:pPr>
              <a:r>
                <a:rPr lang="de-DE" sz="1600" b="1">
                  <a:latin typeface="Arial" panose="020B0604020202020204" pitchFamily="34" charset="0"/>
                  <a:cs typeface="Arial" panose="020B0604020202020204" pitchFamily="34" charset="0"/>
                </a:rPr>
                <a:t>Tasks</a:t>
              </a:r>
            </a:p>
          </p:txBody>
        </p:sp>
      </p:grpSp>
      <p:sp>
        <p:nvSpPr>
          <p:cNvPr id="33" name="Textfeld 32"/>
          <p:cNvSpPr txBox="1"/>
          <p:nvPr/>
        </p:nvSpPr>
        <p:spPr>
          <a:xfrm>
            <a:off x="813732" y="2074661"/>
            <a:ext cx="5904819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Arial" panose="020B0604020202020204" pitchFamily="34" charset="0"/>
                <a:cs typeface="Arial" panose="020B0604020202020204" pitchFamily="34" charset="0"/>
              </a:rPr>
              <a:t>Develop interface from unity to Neo4j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Arial" panose="020B0604020202020204" pitchFamily="34" charset="0"/>
                <a:cs typeface="Arial" panose="020B0604020202020204" pitchFamily="34" charset="0"/>
              </a:rPr>
              <a:t>Load scenario description from Neo4j graph databas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Arial" panose="020B0604020202020204" pitchFamily="34" charset="0"/>
                <a:cs typeface="Arial" panose="020B0604020202020204" pitchFamily="34" charset="0"/>
              </a:rPr>
              <a:t>Build up automatic security &amp; safety scenarios based on created reference scenario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3" name="Gruppieren 22"/>
          <p:cNvGrpSpPr/>
          <p:nvPr/>
        </p:nvGrpSpPr>
        <p:grpSpPr>
          <a:xfrm>
            <a:off x="6837563" y="1296519"/>
            <a:ext cx="4621798" cy="4724768"/>
            <a:chOff x="5695356" y="3717032"/>
            <a:chExt cx="3712503" cy="4724768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4" name="Rechteck 23"/>
            <p:cNvSpPr/>
            <p:nvPr/>
          </p:nvSpPr>
          <p:spPr bwMode="auto">
            <a:xfrm>
              <a:off x="5695356" y="4005065"/>
              <a:ext cx="3712503" cy="4436735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89BEAC"/>
              </a:solidFill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40000"/>
                </a:spcAft>
              </a:pPr>
              <a:endParaRPr lang="de-D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auto">
            <a:xfrm>
              <a:off x="5695356" y="3717032"/>
              <a:ext cx="1561899" cy="284862"/>
            </a:xfrm>
            <a:prstGeom prst="rect">
              <a:avLst/>
            </a:prstGeom>
            <a:solidFill>
              <a:srgbClr val="BEDBD4"/>
            </a:solidFill>
            <a:ln>
              <a:solidFill>
                <a:srgbClr val="89BEAC"/>
              </a:solidFill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40000"/>
                </a:spcAft>
              </a:pPr>
              <a:r>
                <a:rPr lang="de-DE" sz="1600" b="1">
                  <a:latin typeface="Arial" panose="020B0604020202020204" pitchFamily="34" charset="0"/>
                  <a:cs typeface="Arial" panose="020B0604020202020204" pitchFamily="34" charset="0"/>
                </a:rPr>
                <a:t>Sketch</a:t>
              </a:r>
              <a:endParaRPr lang="de-DE" sz="1400" b="1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8" name="Rechteck 7"/>
          <p:cNvSpPr/>
          <p:nvPr/>
        </p:nvSpPr>
        <p:spPr bwMode="auto">
          <a:xfrm>
            <a:off x="8137083" y="1818499"/>
            <a:ext cx="2323375" cy="144735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40000"/>
              </a:spcAft>
            </a:pPr>
            <a:endParaRPr lang="de-DE">
              <a:latin typeface="Frutiger LT Com 55 Roman" pitchFamily="34" charset="0"/>
            </a:endParaRPr>
          </a:p>
        </p:txBody>
      </p:sp>
      <p:sp>
        <p:nvSpPr>
          <p:cNvPr id="27" name="Textfeld 26"/>
          <p:cNvSpPr txBox="1"/>
          <p:nvPr/>
        </p:nvSpPr>
        <p:spPr>
          <a:xfrm>
            <a:off x="9808859" y="987111"/>
            <a:ext cx="1728192" cy="307777"/>
          </a:xfrm>
          <a:prstGeom prst="rect">
            <a:avLst/>
          </a:prstGeom>
          <a:solidFill>
            <a:srgbClr val="1B9D83"/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>
            <a:defPPr>
              <a:defRPr lang="de-DE"/>
            </a:defPPr>
            <a:lvl1pPr algn="ctr">
              <a:spcAft>
                <a:spcPts val="0"/>
              </a:spcAft>
              <a:defRPr sz="1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Group Unity</a:t>
            </a:r>
          </a:p>
        </p:txBody>
      </p:sp>
      <p:sp>
        <p:nvSpPr>
          <p:cNvPr id="26" name="Textfeld 25"/>
          <p:cNvSpPr txBox="1"/>
          <p:nvPr/>
        </p:nvSpPr>
        <p:spPr>
          <a:xfrm>
            <a:off x="854837" y="4490637"/>
            <a:ext cx="5904819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Arial" panose="020B0604020202020204" pitchFamily="34" charset="0"/>
                <a:cs typeface="Arial" panose="020B0604020202020204" pitchFamily="34" charset="0"/>
              </a:rPr>
              <a:t>Neo4j graph databas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Arial" panose="020B0604020202020204" pitchFamily="34" charset="0"/>
                <a:cs typeface="Arial" panose="020B0604020202020204" pitchFamily="34" charset="0"/>
              </a:rPr>
              <a:t>Unity 3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Arial" panose="020B0604020202020204" pitchFamily="34" charset="0"/>
                <a:cs typeface="Arial" panose="020B0604020202020204" pitchFamily="34" charset="0"/>
              </a:rPr>
              <a:t>Visual Studio C#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Arial" panose="020B0604020202020204" pitchFamily="34" charset="0"/>
                <a:cs typeface="Arial" panose="020B0604020202020204" pitchFamily="34" charset="0"/>
              </a:rPr>
              <a:t>Google: Literature research on building up 3D reference scenario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9764"/>
          <a:stretch/>
        </p:blipFill>
        <p:spPr>
          <a:xfrm>
            <a:off x="6910067" y="2341043"/>
            <a:ext cx="4339717" cy="27639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17890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Rechteck 65"/>
          <p:cNvSpPr/>
          <p:nvPr/>
        </p:nvSpPr>
        <p:spPr bwMode="auto">
          <a:xfrm>
            <a:off x="578263" y="1237149"/>
            <a:ext cx="11021384" cy="485614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179C7D"/>
            </a:solidFill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40000"/>
              </a:spcAft>
            </a:pPr>
            <a:endParaRPr lang="de-DE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>
                <a:latin typeface="Arial" panose="020B0604020202020204" pitchFamily="34" charset="0"/>
                <a:cs typeface="Arial" panose="020B0604020202020204" pitchFamily="34" charset="0"/>
              </a:rPr>
              <a:t>Kick-Off</a:t>
            </a:r>
            <a:br>
              <a:rPr lang="de-DE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2000">
                <a:solidFill>
                  <a:srgbClr val="179C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pic: A.I. – Data Base, Model </a:t>
            </a:r>
            <a:r>
              <a:rPr lang="de-DE" sz="2000" err="1">
                <a:solidFill>
                  <a:srgbClr val="179C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</a:t>
            </a:r>
            <a:r>
              <a:rPr lang="de-DE" sz="2000">
                <a:solidFill>
                  <a:srgbClr val="179C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xchange</a:t>
            </a:r>
          </a:p>
        </p:txBody>
      </p:sp>
      <p:grpSp>
        <p:nvGrpSpPr>
          <p:cNvPr id="46" name="Gruppieren 45"/>
          <p:cNvGrpSpPr/>
          <p:nvPr/>
        </p:nvGrpSpPr>
        <p:grpSpPr>
          <a:xfrm>
            <a:off x="717115" y="3717032"/>
            <a:ext cx="6005880" cy="2304256"/>
            <a:chOff x="636976" y="1403986"/>
            <a:chExt cx="2594633" cy="1495953"/>
          </a:xfrm>
        </p:grpSpPr>
        <p:sp>
          <p:nvSpPr>
            <p:cNvPr id="47" name="Rechteck 46"/>
            <p:cNvSpPr/>
            <p:nvPr/>
          </p:nvSpPr>
          <p:spPr bwMode="auto">
            <a:xfrm>
              <a:off x="636976" y="1403986"/>
              <a:ext cx="816687" cy="186995"/>
            </a:xfrm>
            <a:prstGeom prst="rect">
              <a:avLst/>
            </a:prstGeom>
            <a:solidFill>
              <a:srgbClr val="BEDBD4"/>
            </a:solidFill>
            <a:ln>
              <a:solidFill>
                <a:srgbClr val="89BEAC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40000"/>
                </a:spcAft>
              </a:pPr>
              <a:r>
                <a:rPr lang="de-DE" sz="1600" b="1">
                  <a:latin typeface="Arial" panose="020B0604020202020204" pitchFamily="34" charset="0"/>
                  <a:cs typeface="Arial" panose="020B0604020202020204" pitchFamily="34" charset="0"/>
                </a:rPr>
                <a:t>Technologies</a:t>
              </a:r>
            </a:p>
          </p:txBody>
        </p:sp>
        <p:sp>
          <p:nvSpPr>
            <p:cNvPr id="48" name="Rechteck 47"/>
            <p:cNvSpPr/>
            <p:nvPr/>
          </p:nvSpPr>
          <p:spPr bwMode="auto">
            <a:xfrm>
              <a:off x="637013" y="1590980"/>
              <a:ext cx="2594596" cy="1308959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89BEAC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40000"/>
                </a:spcAft>
              </a:pPr>
              <a:endParaRPr lang="de-DE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fontAlgn="base">
                <a:spcBef>
                  <a:spcPct val="0"/>
                </a:spcBef>
                <a:spcAft>
                  <a:spcPct val="40000"/>
                </a:spcAft>
              </a:pPr>
              <a:endParaRPr lang="de-D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82" name="Textfeld 81"/>
          <p:cNvSpPr txBox="1"/>
          <p:nvPr/>
        </p:nvSpPr>
        <p:spPr>
          <a:xfrm>
            <a:off x="6800902" y="4275984"/>
            <a:ext cx="3653311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de-DE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" name="Gruppieren 3"/>
          <p:cNvGrpSpPr/>
          <p:nvPr/>
        </p:nvGrpSpPr>
        <p:grpSpPr>
          <a:xfrm>
            <a:off x="713064" y="1323194"/>
            <a:ext cx="6005487" cy="2250906"/>
            <a:chOff x="523875" y="1406110"/>
            <a:chExt cx="5052470" cy="201568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44" name="Rechteck 43"/>
            <p:cNvSpPr/>
            <p:nvPr/>
          </p:nvSpPr>
          <p:spPr bwMode="auto">
            <a:xfrm>
              <a:off x="523875" y="1648707"/>
              <a:ext cx="5052470" cy="1773092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89BEAC"/>
              </a:solidFill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endParaRPr lang="de-DE" sz="12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5" name="Rechteck 84"/>
            <p:cNvSpPr/>
            <p:nvPr/>
          </p:nvSpPr>
          <p:spPr bwMode="auto">
            <a:xfrm>
              <a:off x="527283" y="1406110"/>
              <a:ext cx="1581343" cy="242598"/>
            </a:xfrm>
            <a:prstGeom prst="rect">
              <a:avLst/>
            </a:prstGeom>
            <a:solidFill>
              <a:srgbClr val="BEDBD4"/>
            </a:solidFill>
            <a:ln>
              <a:solidFill>
                <a:srgbClr val="89BEAC"/>
              </a:solidFill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40000"/>
                </a:spcAft>
              </a:pPr>
              <a:r>
                <a:rPr lang="de-DE" sz="1600" b="1">
                  <a:latin typeface="Arial" panose="020B0604020202020204" pitchFamily="34" charset="0"/>
                  <a:cs typeface="Arial" panose="020B0604020202020204" pitchFamily="34" charset="0"/>
                </a:rPr>
                <a:t>Tasks</a:t>
              </a:r>
            </a:p>
          </p:txBody>
        </p:sp>
      </p:grpSp>
      <p:sp>
        <p:nvSpPr>
          <p:cNvPr id="33" name="Textfeld 32"/>
          <p:cNvSpPr txBox="1"/>
          <p:nvPr/>
        </p:nvSpPr>
        <p:spPr>
          <a:xfrm>
            <a:off x="813732" y="2074661"/>
            <a:ext cx="5904819" cy="954107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Arial" panose="020B0604020202020204" pitchFamily="34" charset="0"/>
                <a:cs typeface="Arial" panose="020B0604020202020204" pitchFamily="34" charset="0"/>
              </a:rPr>
              <a:t>Identification of relevant Data Sources,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Arial" panose="020B0604020202020204" pitchFamily="34" charset="0"/>
                <a:cs typeface="Arial" panose="020B0604020202020204" pitchFamily="34" charset="0"/>
              </a:rPr>
              <a:t>Derivation of requirements for data integration and pre-process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Arial" panose="020B0604020202020204" pitchFamily="34" charset="0"/>
                <a:cs typeface="Arial" panose="020B0604020202020204" pitchFamily="34" charset="0"/>
              </a:rPr>
              <a:t>Analysis of </a:t>
            </a:r>
            <a:r>
              <a:rPr lang="en-US" sz="1400" err="1">
                <a:latin typeface="Arial" panose="020B0604020202020204" pitchFamily="34" charset="0"/>
                <a:cs typeface="Arial" panose="020B0604020202020204" pitchFamily="34" charset="0"/>
              </a:rPr>
              <a:t>existinging</a:t>
            </a:r>
            <a:r>
              <a:rPr lang="en-US" sz="1400">
                <a:latin typeface="Arial" panose="020B0604020202020204" pitchFamily="34" charset="0"/>
                <a:cs typeface="Arial" panose="020B0604020202020204" pitchFamily="34" charset="0"/>
              </a:rPr>
              <a:t> and planned target database and </a:t>
            </a:r>
            <a:r>
              <a:rPr lang="en-US" sz="1400" err="1">
                <a:latin typeface="Arial" panose="020B0604020202020204" pitchFamily="34" charset="0"/>
                <a:cs typeface="Arial" panose="020B0604020202020204" pitchFamily="34" charset="0"/>
              </a:rPr>
              <a:t>datamodel</a:t>
            </a:r>
            <a:endParaRPr lang="en-US" sz="14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Arial"/>
                <a:cs typeface="Arial"/>
              </a:rPr>
              <a:t>Implementation of data exchange</a:t>
            </a:r>
          </a:p>
        </p:txBody>
      </p:sp>
      <p:grpSp>
        <p:nvGrpSpPr>
          <p:cNvPr id="23" name="Gruppieren 22"/>
          <p:cNvGrpSpPr/>
          <p:nvPr/>
        </p:nvGrpSpPr>
        <p:grpSpPr>
          <a:xfrm>
            <a:off x="6837563" y="1296519"/>
            <a:ext cx="4621798" cy="4724768"/>
            <a:chOff x="5695356" y="3717032"/>
            <a:chExt cx="3712503" cy="4724768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4" name="Rechteck 23"/>
            <p:cNvSpPr/>
            <p:nvPr/>
          </p:nvSpPr>
          <p:spPr bwMode="auto">
            <a:xfrm>
              <a:off x="5695356" y="4005065"/>
              <a:ext cx="3712503" cy="4436735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89BEAC"/>
              </a:solidFill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40000"/>
                </a:spcAft>
              </a:pPr>
              <a:endParaRPr lang="de-D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auto">
            <a:xfrm>
              <a:off x="5695356" y="3717032"/>
              <a:ext cx="1561899" cy="284862"/>
            </a:xfrm>
            <a:prstGeom prst="rect">
              <a:avLst/>
            </a:prstGeom>
            <a:solidFill>
              <a:srgbClr val="BEDBD4"/>
            </a:solidFill>
            <a:ln>
              <a:solidFill>
                <a:srgbClr val="89BEAC"/>
              </a:solidFill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40000"/>
                </a:spcAft>
              </a:pPr>
              <a:r>
                <a:rPr lang="de-DE" sz="1600" b="1">
                  <a:latin typeface="Arial" panose="020B0604020202020204" pitchFamily="34" charset="0"/>
                  <a:cs typeface="Arial" panose="020B0604020202020204" pitchFamily="34" charset="0"/>
                </a:rPr>
                <a:t>Sketch</a:t>
              </a:r>
              <a:endParaRPr lang="de-DE" sz="1400" b="1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7" name="Textfeld 26"/>
          <p:cNvSpPr txBox="1"/>
          <p:nvPr/>
        </p:nvSpPr>
        <p:spPr>
          <a:xfrm>
            <a:off x="9808859" y="987111"/>
            <a:ext cx="1728192" cy="307777"/>
          </a:xfrm>
          <a:prstGeom prst="rect">
            <a:avLst/>
          </a:prstGeom>
          <a:solidFill>
            <a:srgbClr val="1B9D83"/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>
            <a:defPPr>
              <a:defRPr lang="de-DE"/>
            </a:defPPr>
            <a:lvl1pPr algn="ctr">
              <a:spcAft>
                <a:spcPts val="0"/>
              </a:spcAft>
              <a:defRPr sz="1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Group A.I.</a:t>
            </a:r>
          </a:p>
        </p:txBody>
      </p:sp>
      <p:sp>
        <p:nvSpPr>
          <p:cNvPr id="26" name="Textfeld 25"/>
          <p:cNvSpPr txBox="1"/>
          <p:nvPr/>
        </p:nvSpPr>
        <p:spPr>
          <a:xfrm>
            <a:off x="854837" y="4278968"/>
            <a:ext cx="5904819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Arial" panose="020B0604020202020204" pitchFamily="34" charset="0"/>
                <a:cs typeface="Arial" panose="020B0604020202020204" pitchFamily="34" charset="0"/>
              </a:rPr>
              <a:t>Neo4j graph database and if necessary cypher (Query language for graph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Arial" panose="020B0604020202020204" pitchFamily="34" charset="0"/>
                <a:cs typeface="Arial" panose="020B0604020202020204" pitchFamily="34" charset="0"/>
              </a:rPr>
              <a:t>Pyth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err="1">
                <a:latin typeface="Arial" panose="020B0604020202020204" pitchFamily="34" charset="0"/>
                <a:cs typeface="Arial" panose="020B0604020202020204" pitchFamily="34" charset="0"/>
              </a:rPr>
              <a:t>Pycharm</a:t>
            </a:r>
            <a:r>
              <a:rPr lang="en-US" sz="1400">
                <a:latin typeface="Arial" panose="020B0604020202020204" pitchFamily="34" charset="0"/>
                <a:cs typeface="Arial" panose="020B0604020202020204" pitchFamily="34" charset="0"/>
              </a:rPr>
              <a:t> or simila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Arial" panose="020B0604020202020204" pitchFamily="34" charset="0"/>
                <a:cs typeface="Arial" panose="020B0604020202020204" pitchFamily="34" charset="0"/>
              </a:rPr>
              <a:t>JS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Arial" panose="020B0604020202020204" pitchFamily="34" charset="0"/>
                <a:cs typeface="Arial" panose="020B0604020202020204" pitchFamily="34" charset="0"/>
              </a:rPr>
              <a:t>Google: Literature research on useful information sources (Blogs, News, CVE Databases etc.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09214" y="1621365"/>
            <a:ext cx="4514983" cy="2836335"/>
          </a:xfrm>
          <a:prstGeom prst="rect">
            <a:avLst/>
          </a:prstGeom>
        </p:spPr>
      </p:pic>
      <p:sp>
        <p:nvSpPr>
          <p:cNvPr id="6" name="Zylinder 5"/>
          <p:cNvSpPr/>
          <p:nvPr/>
        </p:nvSpPr>
        <p:spPr>
          <a:xfrm>
            <a:off x="7504898" y="4216678"/>
            <a:ext cx="1020482" cy="641141"/>
          </a:xfrm>
          <a:prstGeom prst="can">
            <a:avLst/>
          </a:prstGeom>
          <a:gradFill flip="none" rotWithShape="1">
            <a:gsLst>
              <a:gs pos="80000">
                <a:schemeClr val="accent1"/>
              </a:gs>
              <a:gs pos="5000">
                <a:schemeClr val="tx2"/>
              </a:gs>
            </a:gsLst>
            <a:lin ang="2400000" scaled="0"/>
            <a:tileRect/>
          </a:gradFill>
          <a:ln>
            <a:noFill/>
          </a:ln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1000"/>
              </a:spcAft>
            </a:pPr>
            <a:r>
              <a:rPr lang="de-DE" sz="1400" b="1">
                <a:solidFill>
                  <a:schemeClr val="bg1"/>
                </a:solidFill>
              </a:rPr>
              <a:t>News</a:t>
            </a:r>
          </a:p>
        </p:txBody>
      </p:sp>
      <p:sp>
        <p:nvSpPr>
          <p:cNvPr id="39" name="Zylinder 38"/>
          <p:cNvSpPr/>
          <p:nvPr/>
        </p:nvSpPr>
        <p:spPr>
          <a:xfrm>
            <a:off x="9500930" y="4322551"/>
            <a:ext cx="1020482" cy="641141"/>
          </a:xfrm>
          <a:prstGeom prst="can">
            <a:avLst/>
          </a:prstGeom>
          <a:gradFill flip="none" rotWithShape="1">
            <a:gsLst>
              <a:gs pos="80000">
                <a:schemeClr val="accent1"/>
              </a:gs>
              <a:gs pos="5000">
                <a:schemeClr val="tx2"/>
              </a:gs>
            </a:gsLst>
            <a:lin ang="2400000" scaled="0"/>
            <a:tileRect/>
          </a:gradFill>
          <a:ln>
            <a:noFill/>
          </a:ln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1000"/>
              </a:spcAft>
            </a:pPr>
            <a:r>
              <a:rPr lang="de-DE" sz="1400" b="1">
                <a:solidFill>
                  <a:schemeClr val="bg1"/>
                </a:solidFill>
              </a:rPr>
              <a:t>IT-Blogs</a:t>
            </a:r>
          </a:p>
        </p:txBody>
      </p:sp>
      <p:sp>
        <p:nvSpPr>
          <p:cNvPr id="40" name="Zylinder 39"/>
          <p:cNvSpPr/>
          <p:nvPr/>
        </p:nvSpPr>
        <p:spPr>
          <a:xfrm>
            <a:off x="7952538" y="5107546"/>
            <a:ext cx="1107117" cy="695571"/>
          </a:xfrm>
          <a:prstGeom prst="can">
            <a:avLst/>
          </a:prstGeom>
          <a:gradFill flip="none" rotWithShape="1">
            <a:gsLst>
              <a:gs pos="80000">
                <a:schemeClr val="accent1"/>
              </a:gs>
              <a:gs pos="5000">
                <a:schemeClr val="tx2"/>
              </a:gs>
            </a:gsLst>
            <a:lin ang="2400000" scaled="0"/>
            <a:tileRect/>
          </a:gradFill>
          <a:ln>
            <a:noFill/>
          </a:ln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1000"/>
              </a:spcAft>
            </a:pPr>
            <a:r>
              <a:rPr lang="de-DE" sz="1400" b="1">
                <a:solidFill>
                  <a:schemeClr val="bg1"/>
                </a:solidFill>
              </a:rPr>
              <a:t>Security Databases (CVE)</a:t>
            </a:r>
          </a:p>
        </p:txBody>
      </p:sp>
      <p:sp>
        <p:nvSpPr>
          <p:cNvPr id="41" name="Zylinder 40"/>
          <p:cNvSpPr/>
          <p:nvPr/>
        </p:nvSpPr>
        <p:spPr>
          <a:xfrm>
            <a:off x="9857538" y="5301493"/>
            <a:ext cx="739023" cy="464308"/>
          </a:xfrm>
          <a:prstGeom prst="can">
            <a:avLst/>
          </a:prstGeom>
          <a:gradFill flip="none" rotWithShape="1">
            <a:gsLst>
              <a:gs pos="80000">
                <a:schemeClr val="accent1"/>
              </a:gs>
              <a:gs pos="5000">
                <a:schemeClr val="tx2"/>
              </a:gs>
            </a:gsLst>
            <a:lin ang="2400000" scaled="0"/>
            <a:tileRect/>
          </a:gradFill>
          <a:ln>
            <a:noFill/>
          </a:ln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1000"/>
              </a:spcAft>
            </a:pPr>
            <a:r>
              <a:rPr lang="de-DE" sz="1400" b="1">
                <a:solidFill>
                  <a:schemeClr val="bg1"/>
                </a:solidFill>
              </a:rPr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151705312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Rechteck 65"/>
          <p:cNvSpPr/>
          <p:nvPr/>
        </p:nvSpPr>
        <p:spPr bwMode="auto">
          <a:xfrm>
            <a:off x="578263" y="1237149"/>
            <a:ext cx="11021384" cy="485614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179C7D"/>
            </a:solidFill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40000"/>
              </a:spcAft>
            </a:pPr>
            <a:endParaRPr lang="de-DE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>
                <a:latin typeface="Arial" panose="020B0604020202020204" pitchFamily="34" charset="0"/>
                <a:cs typeface="Arial" panose="020B0604020202020204" pitchFamily="34" charset="0"/>
              </a:rPr>
              <a:t>Kick-Off</a:t>
            </a:r>
            <a:br>
              <a:rPr lang="de-DE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2000">
                <a:solidFill>
                  <a:srgbClr val="179C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pic: A.I. – </a:t>
            </a:r>
            <a:r>
              <a:rPr lang="de-DE" sz="2000" err="1">
                <a:solidFill>
                  <a:srgbClr val="179C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cept</a:t>
            </a:r>
            <a:r>
              <a:rPr lang="de-DE" sz="2000">
                <a:solidFill>
                  <a:srgbClr val="179C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2000" err="1">
                <a:solidFill>
                  <a:srgbClr val="179C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</a:t>
            </a:r>
            <a:r>
              <a:rPr lang="de-DE" sz="2000">
                <a:solidFill>
                  <a:srgbClr val="179C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2000" err="1">
                <a:solidFill>
                  <a:srgbClr val="179C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chitecture</a:t>
            </a:r>
            <a:r>
              <a:rPr lang="de-DE" sz="2000">
                <a:solidFill>
                  <a:srgbClr val="179C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f NLP Pipeline</a:t>
            </a:r>
          </a:p>
        </p:txBody>
      </p:sp>
      <p:grpSp>
        <p:nvGrpSpPr>
          <p:cNvPr id="46" name="Gruppieren 45"/>
          <p:cNvGrpSpPr/>
          <p:nvPr/>
        </p:nvGrpSpPr>
        <p:grpSpPr>
          <a:xfrm>
            <a:off x="717115" y="3717032"/>
            <a:ext cx="6005880" cy="2304256"/>
            <a:chOff x="636976" y="1403986"/>
            <a:chExt cx="2594633" cy="1495953"/>
          </a:xfrm>
        </p:grpSpPr>
        <p:sp>
          <p:nvSpPr>
            <p:cNvPr id="47" name="Rechteck 46"/>
            <p:cNvSpPr/>
            <p:nvPr/>
          </p:nvSpPr>
          <p:spPr bwMode="auto">
            <a:xfrm>
              <a:off x="636976" y="1403986"/>
              <a:ext cx="816687" cy="186995"/>
            </a:xfrm>
            <a:prstGeom prst="rect">
              <a:avLst/>
            </a:prstGeom>
            <a:solidFill>
              <a:srgbClr val="BEDBD4"/>
            </a:solidFill>
            <a:ln>
              <a:solidFill>
                <a:srgbClr val="89BEAC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40000"/>
                </a:spcAft>
              </a:pPr>
              <a:r>
                <a:rPr lang="de-DE" sz="1600" b="1">
                  <a:latin typeface="Arial" panose="020B0604020202020204" pitchFamily="34" charset="0"/>
                  <a:cs typeface="Arial" panose="020B0604020202020204" pitchFamily="34" charset="0"/>
                </a:rPr>
                <a:t>Technologies</a:t>
              </a:r>
            </a:p>
          </p:txBody>
        </p:sp>
        <p:sp>
          <p:nvSpPr>
            <p:cNvPr id="48" name="Rechteck 47"/>
            <p:cNvSpPr/>
            <p:nvPr/>
          </p:nvSpPr>
          <p:spPr bwMode="auto">
            <a:xfrm>
              <a:off x="637013" y="1590980"/>
              <a:ext cx="2594596" cy="1308959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89BEAC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40000"/>
                </a:spcAft>
              </a:pPr>
              <a:endParaRPr lang="de-DE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fontAlgn="base">
                <a:spcBef>
                  <a:spcPct val="0"/>
                </a:spcBef>
                <a:spcAft>
                  <a:spcPct val="40000"/>
                </a:spcAft>
              </a:pPr>
              <a:endParaRPr lang="de-D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" name="Gruppieren 3"/>
          <p:cNvGrpSpPr/>
          <p:nvPr/>
        </p:nvGrpSpPr>
        <p:grpSpPr>
          <a:xfrm>
            <a:off x="713064" y="1323194"/>
            <a:ext cx="6005487" cy="2250906"/>
            <a:chOff x="523875" y="1406110"/>
            <a:chExt cx="5052470" cy="201568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44" name="Rechteck 43"/>
            <p:cNvSpPr/>
            <p:nvPr/>
          </p:nvSpPr>
          <p:spPr bwMode="auto">
            <a:xfrm>
              <a:off x="523875" y="1648707"/>
              <a:ext cx="5052470" cy="1773092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89BEAC"/>
              </a:solidFill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endParaRPr lang="de-DE" sz="12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5" name="Rechteck 84"/>
            <p:cNvSpPr/>
            <p:nvPr/>
          </p:nvSpPr>
          <p:spPr bwMode="auto">
            <a:xfrm>
              <a:off x="527283" y="1406110"/>
              <a:ext cx="1581343" cy="242598"/>
            </a:xfrm>
            <a:prstGeom prst="rect">
              <a:avLst/>
            </a:prstGeom>
            <a:solidFill>
              <a:srgbClr val="BEDBD4"/>
            </a:solidFill>
            <a:ln>
              <a:solidFill>
                <a:srgbClr val="89BEAC"/>
              </a:solidFill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40000"/>
                </a:spcAft>
              </a:pPr>
              <a:r>
                <a:rPr lang="de-DE" sz="1600" b="1">
                  <a:latin typeface="Arial" panose="020B0604020202020204" pitchFamily="34" charset="0"/>
                  <a:cs typeface="Arial" panose="020B0604020202020204" pitchFamily="34" charset="0"/>
                </a:rPr>
                <a:t>Tasks</a:t>
              </a:r>
            </a:p>
          </p:txBody>
        </p:sp>
      </p:grpSp>
      <p:sp>
        <p:nvSpPr>
          <p:cNvPr id="33" name="Textfeld 32"/>
          <p:cNvSpPr txBox="1"/>
          <p:nvPr/>
        </p:nvSpPr>
        <p:spPr>
          <a:xfrm>
            <a:off x="813732" y="1792919"/>
            <a:ext cx="5904819" cy="160043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Arial" panose="020B0604020202020204" pitchFamily="34" charset="0"/>
                <a:cs typeface="Arial" panose="020B0604020202020204" pitchFamily="34" charset="0"/>
              </a:rPr>
              <a:t>Analysis of previous results and architectu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Arial" panose="020B0604020202020204" pitchFamily="34" charset="0"/>
                <a:cs typeface="Arial" panose="020B0604020202020204" pitchFamily="34" charset="0"/>
              </a:rPr>
              <a:t>Derivation of requirements (to adapt the existing one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Arial" panose="020B0604020202020204" pitchFamily="34" charset="0"/>
                <a:cs typeface="Arial" panose="020B0604020202020204" pitchFamily="34" charset="0"/>
              </a:rPr>
              <a:t>Development concept and architecture for NLP Pipelin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>
                <a:latin typeface="Arial" panose="020B0604020202020204" pitchFamily="34" charset="0"/>
                <a:cs typeface="Arial" panose="020B0604020202020204" pitchFamily="34" charset="0"/>
              </a:rPr>
              <a:t>Pre-Processing, Feature extraction etc.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>
                <a:latin typeface="Arial" panose="020B0604020202020204" pitchFamily="34" charset="0"/>
                <a:cs typeface="Arial" panose="020B0604020202020204" pitchFamily="34" charset="0"/>
              </a:rPr>
              <a:t>Goal: Identification of potential relevant Hazards and Vulnerabilities from unstructured text fil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Arial" panose="020B0604020202020204" pitchFamily="34" charset="0"/>
                <a:cs typeface="Arial" panose="020B0604020202020204" pitchFamily="34" charset="0"/>
              </a:rPr>
              <a:t>Proof of Concepts</a:t>
            </a:r>
          </a:p>
        </p:txBody>
      </p:sp>
      <p:grpSp>
        <p:nvGrpSpPr>
          <p:cNvPr id="23" name="Gruppieren 22"/>
          <p:cNvGrpSpPr/>
          <p:nvPr/>
        </p:nvGrpSpPr>
        <p:grpSpPr>
          <a:xfrm>
            <a:off x="6837563" y="1296519"/>
            <a:ext cx="4621798" cy="4724768"/>
            <a:chOff x="5695356" y="3717032"/>
            <a:chExt cx="3712503" cy="4724768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4" name="Rechteck 23"/>
            <p:cNvSpPr/>
            <p:nvPr/>
          </p:nvSpPr>
          <p:spPr bwMode="auto">
            <a:xfrm>
              <a:off x="5695356" y="4005065"/>
              <a:ext cx="3712503" cy="4436735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89BEAC"/>
              </a:solidFill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40000"/>
                </a:spcAft>
              </a:pPr>
              <a:endParaRPr lang="de-D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auto">
            <a:xfrm>
              <a:off x="5695356" y="3717032"/>
              <a:ext cx="1561899" cy="284862"/>
            </a:xfrm>
            <a:prstGeom prst="rect">
              <a:avLst/>
            </a:prstGeom>
            <a:solidFill>
              <a:srgbClr val="BEDBD4"/>
            </a:solidFill>
            <a:ln>
              <a:solidFill>
                <a:srgbClr val="89BEAC"/>
              </a:solidFill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40000"/>
                </a:spcAft>
              </a:pPr>
              <a:r>
                <a:rPr lang="de-DE" sz="1600" b="1">
                  <a:latin typeface="Arial" panose="020B0604020202020204" pitchFamily="34" charset="0"/>
                  <a:cs typeface="Arial" panose="020B0604020202020204" pitchFamily="34" charset="0"/>
                </a:rPr>
                <a:t>Sketch</a:t>
              </a:r>
              <a:endParaRPr lang="de-DE" sz="1400" b="1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7" name="Textfeld 26"/>
          <p:cNvSpPr txBox="1"/>
          <p:nvPr/>
        </p:nvSpPr>
        <p:spPr>
          <a:xfrm>
            <a:off x="9808859" y="987111"/>
            <a:ext cx="1728192" cy="307777"/>
          </a:xfrm>
          <a:prstGeom prst="rect">
            <a:avLst/>
          </a:prstGeom>
          <a:solidFill>
            <a:srgbClr val="1B9D83"/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>
            <a:defPPr>
              <a:defRPr lang="de-DE"/>
            </a:defPPr>
            <a:lvl1pPr algn="ctr">
              <a:spcAft>
                <a:spcPts val="0"/>
              </a:spcAft>
              <a:defRPr sz="1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Group A.I.</a:t>
            </a:r>
          </a:p>
        </p:txBody>
      </p:sp>
      <p:sp>
        <p:nvSpPr>
          <p:cNvPr id="26" name="Textfeld 25"/>
          <p:cNvSpPr txBox="1"/>
          <p:nvPr/>
        </p:nvSpPr>
        <p:spPr>
          <a:xfrm>
            <a:off x="854837" y="4360692"/>
            <a:ext cx="5904819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Arial" panose="020B0604020202020204" pitchFamily="34" charset="0"/>
                <a:cs typeface="Arial" panose="020B0604020202020204" pitchFamily="34" charset="0"/>
              </a:rPr>
              <a:t>Pyth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err="1">
                <a:latin typeface="Arial" panose="020B0604020202020204" pitchFamily="34" charset="0"/>
                <a:cs typeface="Arial" panose="020B0604020202020204" pitchFamily="34" charset="0"/>
              </a:rPr>
              <a:t>Pycharm</a:t>
            </a:r>
            <a:r>
              <a:rPr lang="en-US" sz="1400">
                <a:latin typeface="Arial" panose="020B0604020202020204" pitchFamily="34" charset="0"/>
                <a:cs typeface="Arial" panose="020B0604020202020204" pitchFamily="34" charset="0"/>
              </a:rPr>
              <a:t> or simila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err="1">
                <a:latin typeface="Arial" panose="020B0604020202020204" pitchFamily="34" charset="0"/>
                <a:cs typeface="Arial" panose="020B0604020202020204" pitchFamily="34" charset="0"/>
              </a:rPr>
              <a:t>DeepL</a:t>
            </a:r>
            <a:r>
              <a:rPr lang="en-US" sz="1400">
                <a:latin typeface="Arial" panose="020B0604020202020204" pitchFamily="34" charset="0"/>
                <a:cs typeface="Arial" panose="020B0604020202020204" pitchFamily="34" charset="0"/>
              </a:rPr>
              <a:t> libraries: </a:t>
            </a:r>
            <a:r>
              <a:rPr lang="en-US" sz="1400" err="1">
                <a:latin typeface="Arial" panose="020B0604020202020204" pitchFamily="34" charset="0"/>
                <a:cs typeface="Arial" panose="020B0604020202020204" pitchFamily="34" charset="0"/>
              </a:rPr>
              <a:t>PyTorch</a:t>
            </a:r>
            <a:endParaRPr lang="en-US" sz="14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Arial" panose="020B0604020202020204" pitchFamily="34" charset="0"/>
                <a:cs typeface="Arial" panose="020B0604020202020204" pitchFamily="34" charset="0"/>
              </a:rPr>
              <a:t>NLP-libraries: Google BERT or </a:t>
            </a:r>
            <a:r>
              <a:rPr lang="en-US" sz="1400" err="1">
                <a:latin typeface="Arial" panose="020B0604020202020204" pitchFamily="34" charset="0"/>
                <a:cs typeface="Arial" panose="020B0604020202020204" pitchFamily="34" charset="0"/>
              </a:rPr>
              <a:t>spaCy</a:t>
            </a:r>
            <a:endParaRPr lang="en-US" sz="14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Arial" panose="020B0604020202020204" pitchFamily="34" charset="0"/>
                <a:cs typeface="Arial" panose="020B0604020202020204" pitchFamily="34" charset="0"/>
              </a:rPr>
              <a:t>Google: Literature researc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2" name="Grafik 3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89054" y="1728898"/>
            <a:ext cx="4258321" cy="2608152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458"/>
          <a:stretch/>
        </p:blipFill>
        <p:spPr>
          <a:xfrm>
            <a:off x="7729583" y="4544482"/>
            <a:ext cx="3213461" cy="13544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03167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56"/>
          <a:stretch/>
        </p:blipFill>
        <p:spPr>
          <a:xfrm>
            <a:off x="0" y="447"/>
            <a:ext cx="12215089" cy="6857107"/>
          </a:xfrm>
          <a:prstGeom prst="rect">
            <a:avLst/>
          </a:prstGeom>
        </p:spPr>
      </p:pic>
      <p:sp>
        <p:nvSpPr>
          <p:cNvPr id="9" name="Rectangle 17"/>
          <p:cNvSpPr/>
          <p:nvPr/>
        </p:nvSpPr>
        <p:spPr>
          <a:xfrm>
            <a:off x="397753" y="2335755"/>
            <a:ext cx="11394094" cy="2186489"/>
          </a:xfrm>
          <a:prstGeom prst="rect">
            <a:avLst/>
          </a:prstGeom>
          <a:solidFill>
            <a:schemeClr val="bg1">
              <a:lumMod val="85000"/>
              <a:alpha val="84000"/>
            </a:scheme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1828251">
              <a:defRPr/>
            </a:pPr>
            <a:endParaRPr lang="en-US" sz="1600" kern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540000" y="2432806"/>
            <a:ext cx="11109600" cy="3777193"/>
          </a:xfrm>
        </p:spPr>
        <p:txBody>
          <a:bodyPr/>
          <a:lstStyle/>
          <a:p>
            <a:r>
              <a:rPr lang="de-DE" err="1">
                <a:solidFill>
                  <a:schemeClr val="tx1"/>
                </a:solidFill>
              </a:rPr>
              <a:t>Introduction</a:t>
            </a:r>
            <a:r>
              <a:rPr lang="de-DE">
                <a:solidFill>
                  <a:schemeClr val="tx1"/>
                </a:solidFill>
              </a:rPr>
              <a:t> </a:t>
            </a:r>
            <a:r>
              <a:rPr lang="de-DE" err="1">
                <a:solidFill>
                  <a:schemeClr val="tx1"/>
                </a:solidFill>
              </a:rPr>
              <a:t>of</a:t>
            </a:r>
            <a:r>
              <a:rPr lang="de-DE">
                <a:solidFill>
                  <a:schemeClr val="tx1"/>
                </a:solidFill>
              </a:rPr>
              <a:t> </a:t>
            </a:r>
            <a:r>
              <a:rPr lang="de-DE" err="1">
                <a:solidFill>
                  <a:schemeClr val="tx1"/>
                </a:solidFill>
              </a:rPr>
              <a:t>supervisors</a:t>
            </a:r>
            <a:endParaRPr lang="de-DE">
              <a:solidFill>
                <a:schemeClr val="tx1"/>
              </a:solidFill>
            </a:endParaRPr>
          </a:p>
          <a:p>
            <a:r>
              <a:rPr lang="de-DE">
                <a:solidFill>
                  <a:schemeClr val="tx1"/>
                </a:solidFill>
              </a:rPr>
              <a:t>Short </a:t>
            </a:r>
            <a:r>
              <a:rPr lang="de-DE" err="1">
                <a:solidFill>
                  <a:schemeClr val="tx1"/>
                </a:solidFill>
              </a:rPr>
              <a:t>recap</a:t>
            </a:r>
            <a:r>
              <a:rPr lang="de-DE">
                <a:solidFill>
                  <a:schemeClr val="tx1"/>
                </a:solidFill>
              </a:rPr>
              <a:t>: </a:t>
            </a:r>
            <a:r>
              <a:rPr lang="de-DE" err="1">
                <a:solidFill>
                  <a:schemeClr val="tx1"/>
                </a:solidFill>
              </a:rPr>
              <a:t>Introduction</a:t>
            </a:r>
            <a:r>
              <a:rPr lang="de-DE">
                <a:solidFill>
                  <a:schemeClr val="tx1"/>
                </a:solidFill>
              </a:rPr>
              <a:t> </a:t>
            </a:r>
            <a:r>
              <a:rPr lang="de-DE" err="1">
                <a:solidFill>
                  <a:schemeClr val="tx1"/>
                </a:solidFill>
              </a:rPr>
              <a:t>of</a:t>
            </a:r>
            <a:r>
              <a:rPr lang="de-DE">
                <a:solidFill>
                  <a:schemeClr val="tx1"/>
                </a:solidFill>
              </a:rPr>
              <a:t> </a:t>
            </a:r>
            <a:r>
              <a:rPr lang="de-DE" err="1">
                <a:solidFill>
                  <a:schemeClr val="tx1"/>
                </a:solidFill>
              </a:rPr>
              <a:t>the</a:t>
            </a:r>
            <a:r>
              <a:rPr lang="de-DE">
                <a:solidFill>
                  <a:schemeClr val="tx1"/>
                </a:solidFill>
              </a:rPr>
              <a:t> </a:t>
            </a:r>
            <a:r>
              <a:rPr lang="de-DE" err="1">
                <a:solidFill>
                  <a:schemeClr val="tx1"/>
                </a:solidFill>
              </a:rPr>
              <a:t>project</a:t>
            </a:r>
            <a:r>
              <a:rPr lang="de-DE">
                <a:solidFill>
                  <a:schemeClr val="tx1"/>
                </a:solidFill>
              </a:rPr>
              <a:t> </a:t>
            </a:r>
            <a:r>
              <a:rPr lang="de-DE" err="1">
                <a:solidFill>
                  <a:schemeClr val="tx1"/>
                </a:solidFill>
              </a:rPr>
              <a:t>group</a:t>
            </a:r>
            <a:r>
              <a:rPr lang="de-DE">
                <a:solidFill>
                  <a:schemeClr val="tx1"/>
                </a:solidFill>
              </a:rPr>
              <a:t> B.A.T.M.A.N.</a:t>
            </a:r>
          </a:p>
          <a:p>
            <a:r>
              <a:rPr lang="de-DE" err="1">
                <a:solidFill>
                  <a:schemeClr val="tx1"/>
                </a:solidFill>
              </a:rPr>
              <a:t>Introduction</a:t>
            </a:r>
            <a:r>
              <a:rPr lang="de-DE">
                <a:solidFill>
                  <a:schemeClr val="tx1"/>
                </a:solidFill>
              </a:rPr>
              <a:t> </a:t>
            </a:r>
            <a:r>
              <a:rPr lang="de-DE" err="1">
                <a:solidFill>
                  <a:schemeClr val="tx1"/>
                </a:solidFill>
              </a:rPr>
              <a:t>of</a:t>
            </a:r>
            <a:r>
              <a:rPr lang="de-DE">
                <a:solidFill>
                  <a:schemeClr val="tx1"/>
                </a:solidFill>
              </a:rPr>
              <a:t> </a:t>
            </a:r>
            <a:r>
              <a:rPr lang="de-DE" err="1">
                <a:solidFill>
                  <a:schemeClr val="tx1"/>
                </a:solidFill>
              </a:rPr>
              <a:t>project</a:t>
            </a:r>
            <a:r>
              <a:rPr lang="de-DE">
                <a:solidFill>
                  <a:schemeClr val="tx1"/>
                </a:solidFill>
              </a:rPr>
              <a:t> </a:t>
            </a:r>
            <a:r>
              <a:rPr lang="de-DE" err="1">
                <a:solidFill>
                  <a:schemeClr val="tx1"/>
                </a:solidFill>
              </a:rPr>
              <a:t>group</a:t>
            </a:r>
            <a:r>
              <a:rPr lang="de-DE">
                <a:solidFill>
                  <a:schemeClr val="tx1"/>
                </a:solidFill>
              </a:rPr>
              <a:t> </a:t>
            </a:r>
            <a:r>
              <a:rPr lang="de-DE" err="1">
                <a:solidFill>
                  <a:schemeClr val="tx1"/>
                </a:solidFill>
              </a:rPr>
              <a:t>participants</a:t>
            </a:r>
            <a:endParaRPr lang="de-DE">
              <a:solidFill>
                <a:schemeClr val="tx1"/>
              </a:solidFill>
            </a:endParaRPr>
          </a:p>
          <a:p>
            <a:r>
              <a:rPr lang="de-DE">
                <a:solidFill>
                  <a:schemeClr val="tx1"/>
                </a:solidFill>
              </a:rPr>
              <a:t>Project </a:t>
            </a:r>
            <a:r>
              <a:rPr lang="de-DE" err="1">
                <a:solidFill>
                  <a:schemeClr val="tx1"/>
                </a:solidFill>
              </a:rPr>
              <a:t>group</a:t>
            </a:r>
            <a:r>
              <a:rPr lang="de-DE">
                <a:solidFill>
                  <a:schemeClr val="tx1"/>
                </a:solidFill>
              </a:rPr>
              <a:t> </a:t>
            </a:r>
            <a:r>
              <a:rPr lang="de-DE" err="1">
                <a:solidFill>
                  <a:schemeClr val="tx1"/>
                </a:solidFill>
              </a:rPr>
              <a:t>organization</a:t>
            </a:r>
            <a:endParaRPr lang="de-DE">
              <a:solidFill>
                <a:schemeClr val="tx1"/>
              </a:solidFill>
            </a:endParaRPr>
          </a:p>
          <a:p>
            <a:r>
              <a:rPr lang="de-DE" err="1">
                <a:solidFill>
                  <a:schemeClr val="tx1"/>
                </a:solidFill>
              </a:rPr>
              <a:t>Introduction</a:t>
            </a:r>
            <a:r>
              <a:rPr lang="de-DE">
                <a:solidFill>
                  <a:schemeClr val="tx1"/>
                </a:solidFill>
              </a:rPr>
              <a:t> </a:t>
            </a:r>
            <a:r>
              <a:rPr lang="de-DE" err="1">
                <a:solidFill>
                  <a:schemeClr val="tx1"/>
                </a:solidFill>
              </a:rPr>
              <a:t>of</a:t>
            </a:r>
            <a:r>
              <a:rPr lang="de-DE">
                <a:solidFill>
                  <a:schemeClr val="tx1"/>
                </a:solidFill>
              </a:rPr>
              <a:t> </a:t>
            </a:r>
            <a:r>
              <a:rPr lang="de-DE" err="1">
                <a:solidFill>
                  <a:schemeClr val="tx1"/>
                </a:solidFill>
              </a:rPr>
              <a:t>project</a:t>
            </a:r>
            <a:r>
              <a:rPr lang="de-DE">
                <a:solidFill>
                  <a:schemeClr val="tx1"/>
                </a:solidFill>
              </a:rPr>
              <a:t> </a:t>
            </a:r>
            <a:r>
              <a:rPr lang="de-DE" err="1">
                <a:solidFill>
                  <a:schemeClr val="tx1"/>
                </a:solidFill>
              </a:rPr>
              <a:t>group</a:t>
            </a:r>
            <a:r>
              <a:rPr lang="de-DE">
                <a:solidFill>
                  <a:schemeClr val="tx1"/>
                </a:solidFill>
              </a:rPr>
              <a:t> </a:t>
            </a:r>
            <a:r>
              <a:rPr lang="de-DE" err="1">
                <a:solidFill>
                  <a:schemeClr val="tx1"/>
                </a:solidFill>
              </a:rPr>
              <a:t>topics</a:t>
            </a:r>
            <a:endParaRPr lang="de-DE">
              <a:solidFill>
                <a:schemeClr val="tx1"/>
              </a:solidFill>
            </a:endParaRPr>
          </a:p>
          <a:p>
            <a:r>
              <a:rPr lang="de-DE">
                <a:solidFill>
                  <a:schemeClr val="tx1"/>
                </a:solidFill>
              </a:rPr>
              <a:t>Next </a:t>
            </a:r>
            <a:r>
              <a:rPr lang="de-DE" err="1">
                <a:solidFill>
                  <a:schemeClr val="tx1"/>
                </a:solidFill>
              </a:rPr>
              <a:t>steps</a:t>
            </a:r>
            <a:endParaRPr lang="de-DE">
              <a:solidFill>
                <a:schemeClr val="tx1"/>
              </a:solidFill>
            </a:endParaRP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Kick-Off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/>
              <a:t>Agenda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© Heinz Nixdorf Institut / Fraunhofer IEM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3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5685BD5-7F70-499C-8F04-1460C72EE5D6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574020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Rechteck 65"/>
          <p:cNvSpPr/>
          <p:nvPr/>
        </p:nvSpPr>
        <p:spPr bwMode="auto">
          <a:xfrm>
            <a:off x="578263" y="1237149"/>
            <a:ext cx="11021384" cy="485614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179C7D"/>
            </a:solidFill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40000"/>
              </a:spcAft>
            </a:pPr>
            <a:endParaRPr lang="de-DE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>
                <a:latin typeface="Arial" panose="020B0604020202020204" pitchFamily="34" charset="0"/>
                <a:cs typeface="Arial" panose="020B0604020202020204" pitchFamily="34" charset="0"/>
              </a:rPr>
              <a:t>Kick-Off</a:t>
            </a:r>
            <a:br>
              <a:rPr lang="de-DE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2000">
                <a:solidFill>
                  <a:srgbClr val="179C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pic: A.I. – Training </a:t>
            </a:r>
            <a:r>
              <a:rPr lang="de-DE" sz="2000" err="1">
                <a:solidFill>
                  <a:srgbClr val="179C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</a:t>
            </a:r>
            <a:r>
              <a:rPr lang="de-DE" sz="2000">
                <a:solidFill>
                  <a:srgbClr val="179C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2000" err="1">
                <a:solidFill>
                  <a:srgbClr val="179C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erencing</a:t>
            </a:r>
            <a:endParaRPr lang="de-DE" sz="2000">
              <a:solidFill>
                <a:srgbClr val="179C7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6" name="Gruppieren 45"/>
          <p:cNvGrpSpPr/>
          <p:nvPr/>
        </p:nvGrpSpPr>
        <p:grpSpPr>
          <a:xfrm>
            <a:off x="717115" y="3717032"/>
            <a:ext cx="6005880" cy="2304256"/>
            <a:chOff x="636976" y="1403986"/>
            <a:chExt cx="2594633" cy="1495953"/>
          </a:xfrm>
        </p:grpSpPr>
        <p:sp>
          <p:nvSpPr>
            <p:cNvPr id="47" name="Rechteck 46"/>
            <p:cNvSpPr/>
            <p:nvPr/>
          </p:nvSpPr>
          <p:spPr bwMode="auto">
            <a:xfrm>
              <a:off x="636976" y="1403986"/>
              <a:ext cx="816687" cy="186995"/>
            </a:xfrm>
            <a:prstGeom prst="rect">
              <a:avLst/>
            </a:prstGeom>
            <a:solidFill>
              <a:srgbClr val="BEDBD4"/>
            </a:solidFill>
            <a:ln>
              <a:solidFill>
                <a:srgbClr val="89BEAC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40000"/>
                </a:spcAft>
              </a:pPr>
              <a:r>
                <a:rPr lang="de-DE" sz="1600" b="1">
                  <a:latin typeface="Arial" panose="020B0604020202020204" pitchFamily="34" charset="0"/>
                  <a:cs typeface="Arial" panose="020B0604020202020204" pitchFamily="34" charset="0"/>
                </a:rPr>
                <a:t>Technologies</a:t>
              </a:r>
            </a:p>
          </p:txBody>
        </p:sp>
        <p:sp>
          <p:nvSpPr>
            <p:cNvPr id="48" name="Rechteck 47"/>
            <p:cNvSpPr/>
            <p:nvPr/>
          </p:nvSpPr>
          <p:spPr bwMode="auto">
            <a:xfrm>
              <a:off x="637013" y="1590980"/>
              <a:ext cx="2594596" cy="1308959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89BEAC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40000"/>
                </a:spcAft>
              </a:pPr>
              <a:endParaRPr lang="de-DE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fontAlgn="base">
                <a:spcBef>
                  <a:spcPct val="0"/>
                </a:spcBef>
                <a:spcAft>
                  <a:spcPct val="40000"/>
                </a:spcAft>
              </a:pPr>
              <a:endParaRPr lang="de-D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82" name="Textfeld 81"/>
          <p:cNvSpPr txBox="1"/>
          <p:nvPr/>
        </p:nvSpPr>
        <p:spPr>
          <a:xfrm>
            <a:off x="6853505" y="1675817"/>
            <a:ext cx="3653311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de-DE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" name="Gruppieren 3"/>
          <p:cNvGrpSpPr/>
          <p:nvPr/>
        </p:nvGrpSpPr>
        <p:grpSpPr>
          <a:xfrm>
            <a:off x="713064" y="1323194"/>
            <a:ext cx="6005487" cy="2250906"/>
            <a:chOff x="523875" y="1406110"/>
            <a:chExt cx="5052470" cy="201568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44" name="Rechteck 43"/>
            <p:cNvSpPr/>
            <p:nvPr/>
          </p:nvSpPr>
          <p:spPr bwMode="auto">
            <a:xfrm>
              <a:off x="523875" y="1648707"/>
              <a:ext cx="5052470" cy="1773092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89BEAC"/>
              </a:solidFill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endParaRPr lang="de-DE" sz="12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5" name="Rechteck 84"/>
            <p:cNvSpPr/>
            <p:nvPr/>
          </p:nvSpPr>
          <p:spPr bwMode="auto">
            <a:xfrm>
              <a:off x="527283" y="1406110"/>
              <a:ext cx="1581343" cy="242598"/>
            </a:xfrm>
            <a:prstGeom prst="rect">
              <a:avLst/>
            </a:prstGeom>
            <a:solidFill>
              <a:srgbClr val="BEDBD4"/>
            </a:solidFill>
            <a:ln>
              <a:solidFill>
                <a:srgbClr val="89BEAC"/>
              </a:solidFill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40000"/>
                </a:spcAft>
              </a:pPr>
              <a:r>
                <a:rPr lang="de-DE" sz="1600" b="1">
                  <a:latin typeface="Arial" panose="020B0604020202020204" pitchFamily="34" charset="0"/>
                  <a:cs typeface="Arial" panose="020B0604020202020204" pitchFamily="34" charset="0"/>
                </a:rPr>
                <a:t>Tasks</a:t>
              </a:r>
            </a:p>
          </p:txBody>
        </p:sp>
      </p:grpSp>
      <p:sp>
        <p:nvSpPr>
          <p:cNvPr id="33" name="Textfeld 32"/>
          <p:cNvSpPr txBox="1"/>
          <p:nvPr/>
        </p:nvSpPr>
        <p:spPr>
          <a:xfrm>
            <a:off x="813732" y="2074661"/>
            <a:ext cx="5904819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Arial" panose="020B0604020202020204" pitchFamily="34" charset="0"/>
                <a:cs typeface="Arial" panose="020B0604020202020204" pitchFamily="34" charset="0"/>
              </a:rPr>
              <a:t>Domain Training / Adaption of pre-trained Models like BER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Arial" panose="020B0604020202020204" pitchFamily="34" charset="0"/>
                <a:cs typeface="Arial" panose="020B0604020202020204" pitchFamily="34" charset="0"/>
              </a:rPr>
              <a:t>Implementation of Pipelines for Training and Inferenc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Arial" panose="020B0604020202020204" pitchFamily="34" charset="0"/>
                <a:cs typeface="Arial" panose="020B0604020202020204" pitchFamily="34" charset="0"/>
              </a:rPr>
              <a:t>Training the Model (supervision etc.)</a:t>
            </a:r>
          </a:p>
        </p:txBody>
      </p:sp>
      <p:grpSp>
        <p:nvGrpSpPr>
          <p:cNvPr id="23" name="Gruppieren 22"/>
          <p:cNvGrpSpPr/>
          <p:nvPr/>
        </p:nvGrpSpPr>
        <p:grpSpPr>
          <a:xfrm>
            <a:off x="6837563" y="1296519"/>
            <a:ext cx="4621798" cy="4724768"/>
            <a:chOff x="5695356" y="3717032"/>
            <a:chExt cx="3712503" cy="4724768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4" name="Rechteck 23"/>
            <p:cNvSpPr/>
            <p:nvPr/>
          </p:nvSpPr>
          <p:spPr bwMode="auto">
            <a:xfrm>
              <a:off x="5695356" y="4005065"/>
              <a:ext cx="3712503" cy="4436735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89BEAC"/>
              </a:solidFill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40000"/>
                </a:spcAft>
              </a:pPr>
              <a:endParaRPr lang="de-D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auto">
            <a:xfrm>
              <a:off x="5695356" y="3717032"/>
              <a:ext cx="1561899" cy="284862"/>
            </a:xfrm>
            <a:prstGeom prst="rect">
              <a:avLst/>
            </a:prstGeom>
            <a:solidFill>
              <a:srgbClr val="BEDBD4"/>
            </a:solidFill>
            <a:ln>
              <a:solidFill>
                <a:srgbClr val="89BEAC"/>
              </a:solidFill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40000"/>
                </a:spcAft>
              </a:pPr>
              <a:r>
                <a:rPr lang="de-DE" sz="1600" b="1">
                  <a:latin typeface="Arial" panose="020B0604020202020204" pitchFamily="34" charset="0"/>
                  <a:cs typeface="Arial" panose="020B0604020202020204" pitchFamily="34" charset="0"/>
                </a:rPr>
                <a:t>Sketch</a:t>
              </a:r>
              <a:endParaRPr lang="de-DE" sz="1400" b="1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7" name="Textfeld 26"/>
          <p:cNvSpPr txBox="1"/>
          <p:nvPr/>
        </p:nvSpPr>
        <p:spPr>
          <a:xfrm>
            <a:off x="9808859" y="987111"/>
            <a:ext cx="1728192" cy="307777"/>
          </a:xfrm>
          <a:prstGeom prst="rect">
            <a:avLst/>
          </a:prstGeom>
          <a:solidFill>
            <a:srgbClr val="1B9D83"/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>
            <a:defPPr>
              <a:defRPr lang="de-DE"/>
            </a:defPPr>
            <a:lvl1pPr algn="ctr">
              <a:spcAft>
                <a:spcPts val="0"/>
              </a:spcAft>
              <a:defRPr sz="1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Group A.I.</a:t>
            </a:r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555" r="52945"/>
          <a:stretch/>
        </p:blipFill>
        <p:spPr>
          <a:xfrm>
            <a:off x="6903719" y="1619586"/>
            <a:ext cx="2025729" cy="2961743"/>
          </a:xfrm>
          <a:prstGeom prst="rect">
            <a:avLst/>
          </a:prstGeom>
        </p:spPr>
      </p:pic>
      <p:pic>
        <p:nvPicPr>
          <p:cNvPr id="39" name="Grafik 38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158" r="2106"/>
          <a:stretch/>
        </p:blipFill>
        <p:spPr>
          <a:xfrm>
            <a:off x="9235440" y="1625810"/>
            <a:ext cx="2174240" cy="2961743"/>
          </a:xfrm>
          <a:prstGeom prst="rect">
            <a:avLst/>
          </a:prstGeom>
        </p:spPr>
      </p:pic>
      <p:sp>
        <p:nvSpPr>
          <p:cNvPr id="10" name="Rechteck 9"/>
          <p:cNvSpPr/>
          <p:nvPr/>
        </p:nvSpPr>
        <p:spPr>
          <a:xfrm>
            <a:off x="6937492" y="3395133"/>
            <a:ext cx="293041" cy="7069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Bef>
                <a:spcPct val="0"/>
              </a:spcBef>
              <a:spcAft>
                <a:spcPts val="1000"/>
              </a:spcAft>
            </a:pPr>
            <a:endParaRPr lang="de-DE" sz="1600" b="1" err="1"/>
          </a:p>
        </p:txBody>
      </p:sp>
      <p:sp>
        <p:nvSpPr>
          <p:cNvPr id="40" name="Rechteck 39"/>
          <p:cNvSpPr/>
          <p:nvPr/>
        </p:nvSpPr>
        <p:spPr>
          <a:xfrm>
            <a:off x="8670180" y="3395133"/>
            <a:ext cx="293041" cy="7069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Bef>
                <a:spcPct val="0"/>
              </a:spcBef>
              <a:spcAft>
                <a:spcPts val="1000"/>
              </a:spcAft>
            </a:pPr>
            <a:endParaRPr lang="de-DE" sz="1600" b="1" err="1"/>
          </a:p>
        </p:txBody>
      </p:sp>
      <p:sp>
        <p:nvSpPr>
          <p:cNvPr id="41" name="Rechteck 40"/>
          <p:cNvSpPr/>
          <p:nvPr/>
        </p:nvSpPr>
        <p:spPr>
          <a:xfrm>
            <a:off x="9183753" y="3395133"/>
            <a:ext cx="293041" cy="7069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Bef>
                <a:spcPct val="0"/>
              </a:spcBef>
              <a:spcAft>
                <a:spcPts val="1000"/>
              </a:spcAft>
            </a:pPr>
            <a:endParaRPr lang="de-DE" sz="1600" b="1" err="1"/>
          </a:p>
        </p:txBody>
      </p:sp>
      <p:pic>
        <p:nvPicPr>
          <p:cNvPr id="42" name="Grafik 41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458"/>
          <a:stretch/>
        </p:blipFill>
        <p:spPr>
          <a:xfrm>
            <a:off x="7729583" y="4544482"/>
            <a:ext cx="3213461" cy="1354484"/>
          </a:xfrm>
          <a:prstGeom prst="rect">
            <a:avLst/>
          </a:prstGeom>
        </p:spPr>
      </p:pic>
      <p:sp>
        <p:nvSpPr>
          <p:cNvPr id="43" name="Textfeld 42"/>
          <p:cNvSpPr txBox="1"/>
          <p:nvPr/>
        </p:nvSpPr>
        <p:spPr>
          <a:xfrm>
            <a:off x="854837" y="4360692"/>
            <a:ext cx="5904819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Arial" panose="020B0604020202020204" pitchFamily="34" charset="0"/>
                <a:cs typeface="Arial" panose="020B0604020202020204" pitchFamily="34" charset="0"/>
              </a:rPr>
              <a:t>Pyth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err="1">
                <a:latin typeface="Arial" panose="020B0604020202020204" pitchFamily="34" charset="0"/>
                <a:cs typeface="Arial" panose="020B0604020202020204" pitchFamily="34" charset="0"/>
              </a:rPr>
              <a:t>Pycharm</a:t>
            </a:r>
            <a:r>
              <a:rPr lang="en-US" sz="1400">
                <a:latin typeface="Arial" panose="020B0604020202020204" pitchFamily="34" charset="0"/>
                <a:cs typeface="Arial" panose="020B0604020202020204" pitchFamily="34" charset="0"/>
              </a:rPr>
              <a:t> or simila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err="1">
                <a:latin typeface="Arial" panose="020B0604020202020204" pitchFamily="34" charset="0"/>
                <a:cs typeface="Arial" panose="020B0604020202020204" pitchFamily="34" charset="0"/>
              </a:rPr>
              <a:t>DeepL</a:t>
            </a:r>
            <a:r>
              <a:rPr lang="en-US" sz="1400">
                <a:latin typeface="Arial" panose="020B0604020202020204" pitchFamily="34" charset="0"/>
                <a:cs typeface="Arial" panose="020B0604020202020204" pitchFamily="34" charset="0"/>
              </a:rPr>
              <a:t> libraries: </a:t>
            </a:r>
            <a:r>
              <a:rPr lang="en-US" sz="1400" err="1">
                <a:latin typeface="Arial" panose="020B0604020202020204" pitchFamily="34" charset="0"/>
                <a:cs typeface="Arial" panose="020B0604020202020204" pitchFamily="34" charset="0"/>
              </a:rPr>
              <a:t>PyTorch</a:t>
            </a:r>
            <a:endParaRPr lang="en-US" sz="14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Arial" panose="020B0604020202020204" pitchFamily="34" charset="0"/>
                <a:cs typeface="Arial" panose="020B0604020202020204" pitchFamily="34" charset="0"/>
              </a:rPr>
              <a:t>NLP-libraries: Google BERT or </a:t>
            </a:r>
            <a:r>
              <a:rPr lang="en-US" sz="1400" err="1">
                <a:latin typeface="Arial" panose="020B0604020202020204" pitchFamily="34" charset="0"/>
                <a:cs typeface="Arial" panose="020B0604020202020204" pitchFamily="34" charset="0"/>
              </a:rPr>
              <a:t>spaCy</a:t>
            </a:r>
            <a:endParaRPr lang="en-US" sz="14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Arial" panose="020B0604020202020204" pitchFamily="34" charset="0"/>
                <a:cs typeface="Arial" panose="020B0604020202020204" pitchFamily="34" charset="0"/>
              </a:rPr>
              <a:t>Google: Literature researc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304853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Rechteck 65"/>
          <p:cNvSpPr/>
          <p:nvPr/>
        </p:nvSpPr>
        <p:spPr bwMode="auto">
          <a:xfrm>
            <a:off x="578263" y="1237149"/>
            <a:ext cx="11021384" cy="485614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179C7D"/>
            </a:solidFill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40000"/>
              </a:spcAft>
            </a:pPr>
            <a:endParaRPr lang="de-DE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>
                <a:latin typeface="Arial" panose="020B0604020202020204" pitchFamily="34" charset="0"/>
                <a:cs typeface="Arial" panose="020B0604020202020204" pitchFamily="34" charset="0"/>
              </a:rPr>
              <a:t>Kick-Off</a:t>
            </a:r>
            <a:br>
              <a:rPr lang="de-DE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2000">
                <a:solidFill>
                  <a:srgbClr val="179C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pic: A.I. – </a:t>
            </a:r>
            <a:r>
              <a:rPr lang="de-DE" sz="2000" err="1">
                <a:solidFill>
                  <a:srgbClr val="179C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timization</a:t>
            </a:r>
            <a:r>
              <a:rPr lang="de-DE" sz="2000">
                <a:solidFill>
                  <a:srgbClr val="179C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2000" err="1">
                <a:solidFill>
                  <a:srgbClr val="179C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</a:t>
            </a:r>
            <a:r>
              <a:rPr lang="de-DE" sz="2000">
                <a:solidFill>
                  <a:srgbClr val="179C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xtension</a:t>
            </a:r>
          </a:p>
        </p:txBody>
      </p:sp>
      <p:grpSp>
        <p:nvGrpSpPr>
          <p:cNvPr id="46" name="Gruppieren 45"/>
          <p:cNvGrpSpPr/>
          <p:nvPr/>
        </p:nvGrpSpPr>
        <p:grpSpPr>
          <a:xfrm>
            <a:off x="717115" y="3717032"/>
            <a:ext cx="6005880" cy="2304256"/>
            <a:chOff x="636976" y="1403986"/>
            <a:chExt cx="2594633" cy="1495953"/>
          </a:xfrm>
        </p:grpSpPr>
        <p:sp>
          <p:nvSpPr>
            <p:cNvPr id="47" name="Rechteck 46"/>
            <p:cNvSpPr/>
            <p:nvPr/>
          </p:nvSpPr>
          <p:spPr bwMode="auto">
            <a:xfrm>
              <a:off x="636976" y="1403986"/>
              <a:ext cx="816687" cy="186995"/>
            </a:xfrm>
            <a:prstGeom prst="rect">
              <a:avLst/>
            </a:prstGeom>
            <a:solidFill>
              <a:srgbClr val="BEDBD4"/>
            </a:solidFill>
            <a:ln>
              <a:solidFill>
                <a:srgbClr val="89BEAC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40000"/>
                </a:spcAft>
              </a:pPr>
              <a:r>
                <a:rPr lang="de-DE" sz="1600" b="1">
                  <a:latin typeface="Arial" panose="020B0604020202020204" pitchFamily="34" charset="0"/>
                  <a:cs typeface="Arial" panose="020B0604020202020204" pitchFamily="34" charset="0"/>
                </a:rPr>
                <a:t>Technologies</a:t>
              </a:r>
            </a:p>
          </p:txBody>
        </p:sp>
        <p:sp>
          <p:nvSpPr>
            <p:cNvPr id="48" name="Rechteck 47"/>
            <p:cNvSpPr/>
            <p:nvPr/>
          </p:nvSpPr>
          <p:spPr bwMode="auto">
            <a:xfrm>
              <a:off x="637013" y="1590980"/>
              <a:ext cx="2594596" cy="1308959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89BEAC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40000"/>
                </a:spcAft>
              </a:pPr>
              <a:endParaRPr lang="de-DE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fontAlgn="base">
                <a:spcBef>
                  <a:spcPct val="0"/>
                </a:spcBef>
                <a:spcAft>
                  <a:spcPct val="40000"/>
                </a:spcAft>
              </a:pPr>
              <a:endParaRPr lang="de-D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" name="Gruppieren 3"/>
          <p:cNvGrpSpPr/>
          <p:nvPr/>
        </p:nvGrpSpPr>
        <p:grpSpPr>
          <a:xfrm>
            <a:off x="713064" y="1323194"/>
            <a:ext cx="6005487" cy="2250906"/>
            <a:chOff x="523875" y="1406110"/>
            <a:chExt cx="5052470" cy="201568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44" name="Rechteck 43"/>
            <p:cNvSpPr/>
            <p:nvPr/>
          </p:nvSpPr>
          <p:spPr bwMode="auto">
            <a:xfrm>
              <a:off x="523875" y="1648707"/>
              <a:ext cx="5052470" cy="1773092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89BEAC"/>
              </a:solidFill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endParaRPr lang="de-DE" sz="12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5" name="Rechteck 84"/>
            <p:cNvSpPr/>
            <p:nvPr/>
          </p:nvSpPr>
          <p:spPr bwMode="auto">
            <a:xfrm>
              <a:off x="527283" y="1406110"/>
              <a:ext cx="1581343" cy="242598"/>
            </a:xfrm>
            <a:prstGeom prst="rect">
              <a:avLst/>
            </a:prstGeom>
            <a:solidFill>
              <a:srgbClr val="BEDBD4"/>
            </a:solidFill>
            <a:ln>
              <a:solidFill>
                <a:srgbClr val="89BEAC"/>
              </a:solidFill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40000"/>
                </a:spcAft>
              </a:pPr>
              <a:r>
                <a:rPr lang="de-DE" sz="1600" b="1">
                  <a:latin typeface="Arial" panose="020B0604020202020204" pitchFamily="34" charset="0"/>
                  <a:cs typeface="Arial" panose="020B0604020202020204" pitchFamily="34" charset="0"/>
                </a:rPr>
                <a:t>Tasks</a:t>
              </a:r>
            </a:p>
          </p:txBody>
        </p:sp>
      </p:grpSp>
      <p:sp>
        <p:nvSpPr>
          <p:cNvPr id="33" name="Textfeld 32"/>
          <p:cNvSpPr txBox="1"/>
          <p:nvPr/>
        </p:nvSpPr>
        <p:spPr>
          <a:xfrm>
            <a:off x="813732" y="2074661"/>
            <a:ext cx="590481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Arial" panose="020B0604020202020204" pitchFamily="34" charset="0"/>
                <a:cs typeface="Arial" panose="020B0604020202020204" pitchFamily="34" charset="0"/>
              </a:rPr>
              <a:t>Expansion of potential data sourc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Arial" panose="020B0604020202020204" pitchFamily="34" charset="0"/>
                <a:cs typeface="Arial" panose="020B0604020202020204" pitchFamily="34" charset="0"/>
              </a:rPr>
              <a:t>General optimizations (Performance etc.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Arial" panose="020B0604020202020204" pitchFamily="34" charset="0"/>
                <a:cs typeface="Arial" panose="020B0604020202020204" pitchFamily="34" charset="0"/>
              </a:rPr>
              <a:t>Extension of the extractable aspects (e.g. road situation, weather conditions)</a:t>
            </a:r>
          </a:p>
        </p:txBody>
      </p:sp>
      <p:grpSp>
        <p:nvGrpSpPr>
          <p:cNvPr id="23" name="Gruppieren 22"/>
          <p:cNvGrpSpPr/>
          <p:nvPr/>
        </p:nvGrpSpPr>
        <p:grpSpPr>
          <a:xfrm>
            <a:off x="6837563" y="1296519"/>
            <a:ext cx="4621798" cy="4724768"/>
            <a:chOff x="5695356" y="3717032"/>
            <a:chExt cx="3712503" cy="4724768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4" name="Rechteck 23"/>
            <p:cNvSpPr/>
            <p:nvPr/>
          </p:nvSpPr>
          <p:spPr bwMode="auto">
            <a:xfrm>
              <a:off x="5695356" y="4005065"/>
              <a:ext cx="3712503" cy="4436735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89BEAC"/>
              </a:solidFill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40000"/>
                </a:spcAft>
              </a:pPr>
              <a:endParaRPr lang="de-D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auto">
            <a:xfrm>
              <a:off x="5695356" y="3717032"/>
              <a:ext cx="1561899" cy="284862"/>
            </a:xfrm>
            <a:prstGeom prst="rect">
              <a:avLst/>
            </a:prstGeom>
            <a:solidFill>
              <a:srgbClr val="BEDBD4"/>
            </a:solidFill>
            <a:ln>
              <a:solidFill>
                <a:srgbClr val="89BEAC"/>
              </a:solidFill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40000"/>
                </a:spcAft>
              </a:pPr>
              <a:r>
                <a:rPr lang="de-DE" sz="1600" b="1">
                  <a:latin typeface="Arial" panose="020B0604020202020204" pitchFamily="34" charset="0"/>
                  <a:cs typeface="Arial" panose="020B0604020202020204" pitchFamily="34" charset="0"/>
                </a:rPr>
                <a:t>Sketch</a:t>
              </a:r>
              <a:endParaRPr lang="de-DE" sz="1400" b="1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7" name="Textfeld 26"/>
          <p:cNvSpPr txBox="1"/>
          <p:nvPr/>
        </p:nvSpPr>
        <p:spPr>
          <a:xfrm>
            <a:off x="9808859" y="987111"/>
            <a:ext cx="1728192" cy="307777"/>
          </a:xfrm>
          <a:prstGeom prst="rect">
            <a:avLst/>
          </a:prstGeom>
          <a:solidFill>
            <a:srgbClr val="1B9D83"/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>
            <a:defPPr>
              <a:defRPr lang="de-DE"/>
            </a:defPPr>
            <a:lvl1pPr algn="ctr">
              <a:spcAft>
                <a:spcPts val="0"/>
              </a:spcAft>
              <a:defRPr sz="1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Group A.I.</a:t>
            </a:r>
          </a:p>
        </p:txBody>
      </p:sp>
      <p:sp>
        <p:nvSpPr>
          <p:cNvPr id="39" name="Textfeld 38"/>
          <p:cNvSpPr txBox="1"/>
          <p:nvPr/>
        </p:nvSpPr>
        <p:spPr>
          <a:xfrm>
            <a:off x="854837" y="4360692"/>
            <a:ext cx="5904819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Arial" panose="020B0604020202020204" pitchFamily="34" charset="0"/>
                <a:cs typeface="Arial" panose="020B0604020202020204" pitchFamily="34" charset="0"/>
              </a:rPr>
              <a:t>Pyth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err="1">
                <a:latin typeface="Arial" panose="020B0604020202020204" pitchFamily="34" charset="0"/>
                <a:cs typeface="Arial" panose="020B0604020202020204" pitchFamily="34" charset="0"/>
              </a:rPr>
              <a:t>Pycharm</a:t>
            </a:r>
            <a:r>
              <a:rPr lang="en-US" sz="1400">
                <a:latin typeface="Arial" panose="020B0604020202020204" pitchFamily="34" charset="0"/>
                <a:cs typeface="Arial" panose="020B0604020202020204" pitchFamily="34" charset="0"/>
              </a:rPr>
              <a:t> or simila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err="1">
                <a:latin typeface="Arial" panose="020B0604020202020204" pitchFamily="34" charset="0"/>
                <a:cs typeface="Arial" panose="020B0604020202020204" pitchFamily="34" charset="0"/>
              </a:rPr>
              <a:t>DeepL</a:t>
            </a:r>
            <a:r>
              <a:rPr lang="en-US" sz="1400">
                <a:latin typeface="Arial" panose="020B0604020202020204" pitchFamily="34" charset="0"/>
                <a:cs typeface="Arial" panose="020B0604020202020204" pitchFamily="34" charset="0"/>
              </a:rPr>
              <a:t> libraries: </a:t>
            </a:r>
            <a:r>
              <a:rPr lang="en-US" sz="1400" err="1">
                <a:latin typeface="Arial" panose="020B0604020202020204" pitchFamily="34" charset="0"/>
                <a:cs typeface="Arial" panose="020B0604020202020204" pitchFamily="34" charset="0"/>
              </a:rPr>
              <a:t>PyTorch</a:t>
            </a:r>
            <a:endParaRPr lang="en-US" sz="14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Arial" panose="020B0604020202020204" pitchFamily="34" charset="0"/>
                <a:cs typeface="Arial" panose="020B0604020202020204" pitchFamily="34" charset="0"/>
              </a:rPr>
              <a:t>NLP-libraries: Google BERT or </a:t>
            </a:r>
            <a:r>
              <a:rPr lang="en-US" sz="1400" err="1">
                <a:latin typeface="Arial" panose="020B0604020202020204" pitchFamily="34" charset="0"/>
                <a:cs typeface="Arial" panose="020B0604020202020204" pitchFamily="34" charset="0"/>
              </a:rPr>
              <a:t>spaCy</a:t>
            </a:r>
            <a:endParaRPr lang="en-US" sz="14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Arial" panose="020B0604020202020204" pitchFamily="34" charset="0"/>
                <a:cs typeface="Arial" panose="020B0604020202020204" pitchFamily="34" charset="0"/>
              </a:rPr>
              <a:t>Google: Literature researc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098" name="Picture 2" descr="Was ist Natural Language Processing? | SAS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02" b="1733"/>
          <a:stretch/>
        </p:blipFill>
        <p:spPr bwMode="auto">
          <a:xfrm>
            <a:off x="6975476" y="1673859"/>
            <a:ext cx="4397376" cy="42506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5779036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578263" y="989550"/>
            <a:ext cx="11017923" cy="4975092"/>
          </a:xfrm>
        </p:spPr>
        <p:txBody>
          <a:bodyPr vert="horz" lIns="0" tIns="0" rIns="0" bIns="0" rtlCol="0" anchor="t">
            <a:normAutofit/>
          </a:bodyPr>
          <a:lstStyle/>
          <a:p>
            <a:pPr marL="0" indent="0">
              <a:buNone/>
            </a:pPr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Until </a:t>
            </a:r>
            <a:r>
              <a:rPr lang="en-US" b="1" err="1">
                <a:latin typeface="Arial" panose="020B0604020202020204" pitchFamily="34" charset="0"/>
                <a:cs typeface="Arial" panose="020B0604020202020204" pitchFamily="34" charset="0"/>
              </a:rPr>
              <a:t>friday</a:t>
            </a:r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 (2019/04/30):</a:t>
            </a:r>
          </a:p>
          <a:p>
            <a:pPr marL="269875" indent="-269875"/>
            <a:r>
              <a:rPr lang="en-US">
                <a:latin typeface="Arial"/>
                <a:cs typeface="Arial"/>
              </a:rPr>
              <a:t>Send us your preference for the A.I. or the A.R. (Unity) group (sergej.japs@iem.fraunhofer.de)</a:t>
            </a:r>
          </a:p>
          <a:p>
            <a:pPr marL="269875" indent="-269875"/>
            <a:r>
              <a:rPr lang="en-US">
                <a:latin typeface="Arial"/>
                <a:cs typeface="Arial"/>
              </a:rPr>
              <a:t>Find a date for weekly meetings with supervisors (regular meetings from next slide)</a:t>
            </a:r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69875" indent="-269875"/>
            <a:r>
              <a:rPr lang="en-US">
                <a:latin typeface="Arial"/>
                <a:cs typeface="Arial"/>
              </a:rPr>
              <a:t>Watch tutorials (maybe there will be a surprise quiz ;-) ):</a:t>
            </a:r>
          </a:p>
          <a:p>
            <a:pPr lvl="1"/>
            <a:r>
              <a:rPr lang="de-DE">
                <a:hlinkClick r:id="rId2"/>
              </a:rPr>
              <a:t>https://www.youtube.com/watch?v=CH2seLS5Wb0</a:t>
            </a:r>
            <a:r>
              <a:rPr lang="de-DE"/>
              <a:t> (Microsoft Teams)</a:t>
            </a:r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r>
              <a:rPr lang="de-DE">
                <a:hlinkClick r:id="rId3"/>
              </a:rPr>
              <a:t>https://www.youtube.com/watch?v=p82hS0K32fA</a:t>
            </a:r>
            <a:r>
              <a:rPr lang="de-DE"/>
              <a:t> (Microsoft Planner)</a:t>
            </a:r>
            <a:endParaRPr lang="de-DE">
              <a:hlinkClick r:id="rId4"/>
            </a:endParaRPr>
          </a:p>
          <a:p>
            <a:pPr lvl="1"/>
            <a:r>
              <a:rPr lang="de-DE">
                <a:hlinkClick r:id="rId4"/>
              </a:rPr>
              <a:t>https://www.youtube.com/watch?v=gEARZ20M-Zc</a:t>
            </a:r>
            <a:r>
              <a:rPr lang="de-DE"/>
              <a:t> (Unity)</a:t>
            </a:r>
          </a:p>
          <a:p>
            <a:pPr lvl="1"/>
            <a:r>
              <a:rPr lang="de-DE">
                <a:hlinkClick r:id="rId5"/>
              </a:rPr>
              <a:t>https://www.youtube.com/watch?v=8S3qHHUKqYk</a:t>
            </a:r>
            <a:r>
              <a:rPr lang="de-DE"/>
              <a:t> (NLP)</a:t>
            </a:r>
          </a:p>
          <a:p>
            <a:pPr lvl="1"/>
            <a:r>
              <a:rPr lang="de-DE">
                <a:hlinkClick r:id="rId6"/>
              </a:rPr>
              <a:t>https://www.youtube.com/watch?v=8dGdIcyDk1w</a:t>
            </a:r>
            <a:r>
              <a:rPr lang="de-DE"/>
              <a:t> (</a:t>
            </a:r>
            <a:r>
              <a:rPr lang="de-DE" err="1"/>
              <a:t>Scrum</a:t>
            </a:r>
            <a:r>
              <a:rPr lang="de-DE"/>
              <a:t>)</a:t>
            </a:r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69875" indent="-269875"/>
            <a:r>
              <a:rPr lang="en-US">
                <a:latin typeface="Arial"/>
                <a:cs typeface="Arial"/>
              </a:rPr>
              <a:t>Of course further research or video tutorials of the topics (Unity, NLP, Scrum) are recommended </a:t>
            </a:r>
          </a:p>
          <a:p>
            <a:pPr marL="269875" indent="-269875"/>
            <a:r>
              <a:rPr lang="en-US">
                <a:latin typeface="Arial"/>
                <a:cs typeface="Arial"/>
              </a:rPr>
              <a:t>Register for the examination in PAUL</a:t>
            </a:r>
          </a:p>
          <a:p>
            <a:pPr marL="269875" indent="-269875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69875" indent="-269875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>
                <a:latin typeface="Arial" panose="020B0604020202020204" pitchFamily="34" charset="0"/>
                <a:cs typeface="Arial" panose="020B0604020202020204" pitchFamily="34" charset="0"/>
              </a:rPr>
              <a:t>Next </a:t>
            </a:r>
            <a:r>
              <a:rPr lang="de-DE" err="1">
                <a:latin typeface="Arial" panose="020B0604020202020204" pitchFamily="34" charset="0"/>
                <a:cs typeface="Arial" panose="020B0604020202020204" pitchFamily="34" charset="0"/>
              </a:rPr>
              <a:t>Steps</a:t>
            </a:r>
            <a:r>
              <a:rPr lang="de-DE">
                <a:latin typeface="Arial" panose="020B0604020202020204" pitchFamily="34" charset="0"/>
                <a:cs typeface="Arial" panose="020B0604020202020204" pitchFamily="34" charset="0"/>
              </a:rPr>
              <a:t> (Organisation)</a:t>
            </a:r>
          </a:p>
        </p:txBody>
      </p:sp>
    </p:spTree>
    <p:extLst>
      <p:ext uri="{BB962C8B-B14F-4D97-AF65-F5344CB8AC3E}">
        <p14:creationId xmlns:p14="http://schemas.microsoft.com/office/powerpoint/2010/main" val="142914131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578263" y="989550"/>
            <a:ext cx="11017923" cy="5265033"/>
          </a:xfrm>
        </p:spPr>
        <p:txBody>
          <a:bodyPr vert="horz" lIns="0" tIns="0" rIns="0" bIns="0" rtlCol="0" anchor="t">
            <a:normAutofit/>
          </a:bodyPr>
          <a:lstStyle/>
          <a:p>
            <a:pPr marL="0" indent="0">
              <a:buNone/>
            </a:pPr>
            <a:r>
              <a:rPr lang="en-US" b="1">
                <a:latin typeface="Arial"/>
                <a:cs typeface="Arial"/>
              </a:rPr>
              <a:t>Regular meetings</a:t>
            </a:r>
            <a:endParaRPr lang="en-US">
              <a:ea typeface="+mn-lt"/>
              <a:cs typeface="+mn-lt"/>
            </a:endParaRPr>
          </a:p>
          <a:p>
            <a:pPr marL="285750" indent="-285750"/>
            <a:r>
              <a:rPr lang="en-US" b="1">
                <a:latin typeface="Arial"/>
                <a:cs typeface="Arial"/>
              </a:rPr>
              <a:t>Planning </a:t>
            </a:r>
            <a:r>
              <a:rPr lang="en-US" b="1"/>
              <a:t>and Review </a:t>
            </a:r>
            <a:r>
              <a:rPr lang="en-US" b="1">
                <a:latin typeface="Arial"/>
                <a:cs typeface="Arial"/>
              </a:rPr>
              <a:t>(</a:t>
            </a:r>
            <a:r>
              <a:rPr lang="en-US" b="1"/>
              <a:t>first every week and later every 3 weeks) - options: </a:t>
            </a:r>
            <a:endParaRPr lang="en-US">
              <a:ea typeface="+mn-lt"/>
              <a:cs typeface="+mn-lt"/>
            </a:endParaRPr>
          </a:p>
          <a:p>
            <a:pPr marL="0" indent="0">
              <a:buNone/>
            </a:pPr>
            <a:r>
              <a:rPr lang="en-US" strike="sngStrike">
                <a:latin typeface="Arial"/>
                <a:cs typeface="Arial"/>
              </a:rPr>
              <a:t>A) Each Friday: 11 am </a:t>
            </a:r>
            <a:r>
              <a:rPr lang="en-US" strike="sngStrike"/>
              <a:t>to 1 pm</a:t>
            </a:r>
            <a:endParaRPr lang="en-US" strike="sngStrike">
              <a:ea typeface="+mn-lt"/>
              <a:cs typeface="+mn-lt"/>
            </a:endParaRPr>
          </a:p>
          <a:p>
            <a:pPr marL="0" indent="0">
              <a:buNone/>
            </a:pPr>
            <a:r>
              <a:rPr lang="en-US" strike="sngStrike"/>
              <a:t>B</a:t>
            </a:r>
            <a:r>
              <a:rPr lang="en-US" strike="sngStrike">
                <a:latin typeface="Arial"/>
                <a:cs typeface="Arial"/>
              </a:rPr>
              <a:t>) Each Tuesday: 1 pm to 3 pm</a:t>
            </a:r>
            <a:endParaRPr lang="en-US" strike="sngStrike">
              <a:ea typeface="+mn-lt"/>
              <a:cs typeface="+mn-lt"/>
            </a:endParaRPr>
          </a:p>
          <a:p>
            <a:pPr marL="0" indent="0">
              <a:buNone/>
            </a:pPr>
            <a:r>
              <a:rPr lang="en-US" b="1"/>
              <a:t>C) Each Wednesday: 1 pm to 3 pm</a:t>
            </a:r>
            <a:endParaRPr lang="en-US" b="1">
              <a:ea typeface="+mn-lt"/>
              <a:cs typeface="+mn-lt"/>
            </a:endParaRPr>
          </a:p>
          <a:p>
            <a:pPr marL="0" indent="0">
              <a:buNone/>
            </a:pPr>
            <a:endParaRPr lang="en-US">
              <a:ea typeface="+mn-lt"/>
              <a:cs typeface="+mn-lt"/>
            </a:endParaRPr>
          </a:p>
          <a:p>
            <a:pPr marL="0" indent="0">
              <a:buNone/>
            </a:pPr>
            <a:r>
              <a:rPr lang="en-US" b="1"/>
              <a:t>Additional meetings are of course possible if necessary</a:t>
            </a:r>
            <a:endParaRPr lang="en-US">
              <a:ea typeface="+mn-lt"/>
              <a:cs typeface="+mn-lt"/>
            </a:endParaRPr>
          </a:p>
          <a:p>
            <a:pPr marL="0" indent="0">
              <a:buNone/>
            </a:pPr>
            <a:endParaRPr lang="en-US" b="1">
              <a:ea typeface="+mn-lt"/>
              <a:cs typeface="+mn-lt"/>
            </a:endParaRPr>
          </a:p>
          <a:p>
            <a:pPr marL="0" indent="0">
              <a:buNone/>
            </a:pPr>
            <a:r>
              <a:rPr lang="en-US" b="1">
                <a:ea typeface="+mn-lt"/>
                <a:cs typeface="+mn-lt"/>
              </a:rPr>
              <a:t>Next meeting for next steps and further </a:t>
            </a:r>
            <a:r>
              <a:rPr lang="en-US" b="1" err="1">
                <a:ea typeface="+mn-lt"/>
                <a:cs typeface="+mn-lt"/>
              </a:rPr>
              <a:t>informations</a:t>
            </a:r>
            <a:r>
              <a:rPr lang="en-US" b="1">
                <a:ea typeface="+mn-lt"/>
                <a:cs typeface="+mn-lt"/>
              </a:rPr>
              <a:t> – options:</a:t>
            </a:r>
          </a:p>
          <a:p>
            <a:pPr marL="0" indent="0">
              <a:buNone/>
            </a:pPr>
            <a:r>
              <a:rPr lang="en-US" b="1">
                <a:ea typeface="+mn-lt"/>
                <a:cs typeface="+mn-lt"/>
              </a:rPr>
              <a:t>A) 04.05.2020, Monday, 11 am to 1 pm </a:t>
            </a:r>
          </a:p>
          <a:p>
            <a:pPr marL="0" indent="0">
              <a:buNone/>
            </a:pPr>
            <a:r>
              <a:rPr lang="en-US" strike="sngStrike">
                <a:ea typeface="+mn-lt"/>
                <a:cs typeface="+mn-lt"/>
              </a:rPr>
              <a:t>B) 05.05.2020, Tuesday, 2 pm to 4 pm</a:t>
            </a:r>
          </a:p>
          <a:p>
            <a:pPr marL="0" indent="0">
              <a:buNone/>
            </a:pPr>
            <a:endParaRPr lang="en-US">
              <a:ea typeface="+mn-lt"/>
              <a:cs typeface="+mn-lt"/>
            </a:endParaRPr>
          </a:p>
          <a:p>
            <a:pPr marL="0" indent="0">
              <a:buNone/>
            </a:pPr>
            <a:endParaRPr lang="en-US" b="1">
              <a:ea typeface="+mn-lt"/>
              <a:cs typeface="+mn-lt"/>
            </a:endParaRPr>
          </a:p>
          <a:p>
            <a:pPr marL="285750" indent="-285750"/>
            <a:endParaRPr lang="en-US" b="1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US" b="1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US" b="1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69875" indent="-269875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69875" indent="-269875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>
                <a:latin typeface="Arial" panose="020B0604020202020204" pitchFamily="34" charset="0"/>
                <a:cs typeface="Arial" panose="020B0604020202020204" pitchFamily="34" charset="0"/>
              </a:rPr>
              <a:t>Next </a:t>
            </a:r>
            <a:r>
              <a:rPr lang="de-DE" err="1">
                <a:latin typeface="Arial" panose="020B0604020202020204" pitchFamily="34" charset="0"/>
                <a:cs typeface="Arial" panose="020B0604020202020204" pitchFamily="34" charset="0"/>
              </a:rPr>
              <a:t>Steps</a:t>
            </a:r>
            <a:r>
              <a:rPr lang="de-DE">
                <a:latin typeface="Arial" panose="020B0604020202020204" pitchFamily="34" charset="0"/>
                <a:cs typeface="Arial" panose="020B0604020202020204" pitchFamily="34" charset="0"/>
              </a:rPr>
              <a:t> (Organisation)</a:t>
            </a:r>
          </a:p>
        </p:txBody>
      </p:sp>
    </p:spTree>
    <p:extLst>
      <p:ext uri="{BB962C8B-B14F-4D97-AF65-F5344CB8AC3E}">
        <p14:creationId xmlns:p14="http://schemas.microsoft.com/office/powerpoint/2010/main" val="110885635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Weekly meeting with the supervisors (mandatory)</a:t>
            </a:r>
          </a:p>
          <a:p>
            <a:pPr marL="0" indent="0">
              <a:buNone/>
            </a:pPr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Organize yourselves</a:t>
            </a:r>
          </a:p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Plan the weekly meeting (i.e. agenda)</a:t>
            </a:r>
          </a:p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Distribute the work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Importan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: find a common day where all of your group can work together</a:t>
            </a:r>
          </a:p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Inhaltsplatzhalter 1"/>
          <p:cNvSpPr>
            <a:spLocks noGrp="1"/>
          </p:cNvSpPr>
          <p:nvPr>
            <p:ph idx="10"/>
          </p:nvPr>
        </p:nvSpPr>
        <p:spPr/>
        <p:txBody>
          <a:bodyPr vert="horz" lIns="0" tIns="0" rIns="0" bIns="0" rtlCol="0" anchor="t">
            <a:noAutofit/>
          </a:bodyPr>
          <a:lstStyle/>
          <a:p>
            <a:pPr marL="0" indent="0">
              <a:buNone/>
            </a:pPr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Microsoft Teams:</a:t>
            </a:r>
          </a:p>
          <a:p>
            <a:pPr marL="269875" indent="-269875"/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Team communication</a:t>
            </a:r>
          </a:p>
          <a:p>
            <a:pPr marL="269875" indent="-269875"/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print planning / backlog</a:t>
            </a:r>
          </a:p>
          <a:p>
            <a:pPr marL="269875" indent="-269875"/>
            <a:r>
              <a:rPr lang="en-US" err="1">
                <a:latin typeface="Arial"/>
                <a:cs typeface="Arial"/>
              </a:rPr>
              <a:t>Sharepoint</a:t>
            </a:r>
            <a:r>
              <a:rPr lang="en-US">
                <a:latin typeface="Arial"/>
                <a:cs typeface="Arial"/>
              </a:rPr>
              <a:t> integration (documents)</a:t>
            </a:r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US" b="1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GIT Server:</a:t>
            </a:r>
            <a:b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bd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0" indent="0">
              <a:buNone/>
            </a:pPr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Work regularly (min 13h/week)</a:t>
            </a:r>
          </a:p>
          <a:p>
            <a:pPr marL="269875" indent="-269875"/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Track your time</a:t>
            </a:r>
          </a:p>
          <a:p>
            <a:pPr marL="269875" indent="-269875"/>
            <a:r>
              <a:rPr lang="en-US">
                <a:latin typeface="Arial"/>
                <a:cs typeface="Arial"/>
              </a:rPr>
              <a:t>Plan your holidays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>
                <a:latin typeface="Arial"/>
                <a:cs typeface="Arial"/>
              </a:rPr>
              <a:t>Next Steps (Organisation)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4609948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itel 1"/>
          <p:cNvSpPr txBox="1">
            <a:spLocks/>
          </p:cNvSpPr>
          <p:nvPr/>
        </p:nvSpPr>
        <p:spPr bwMode="auto">
          <a:xfrm>
            <a:off x="477840" y="335203"/>
            <a:ext cx="10873266" cy="67702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5040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9pPr>
          </a:lstStyle>
          <a:p>
            <a:r>
              <a:rPr lang="de-DE" kern="0" err="1"/>
              <a:t>Overview</a:t>
            </a:r>
            <a:r>
              <a:rPr lang="de-DE" kern="0"/>
              <a:t> </a:t>
            </a:r>
            <a:r>
              <a:rPr lang="de-DE" kern="0" err="1"/>
              <a:t>of</a:t>
            </a:r>
            <a:r>
              <a:rPr lang="de-DE" kern="0"/>
              <a:t> </a:t>
            </a:r>
            <a:r>
              <a:rPr lang="de-DE" kern="0" err="1"/>
              <a:t>the</a:t>
            </a:r>
            <a:r>
              <a:rPr lang="de-DE" kern="0"/>
              <a:t> Fraunhofer Society</a:t>
            </a:r>
          </a:p>
          <a:p>
            <a:r>
              <a:rPr lang="en-US" sz="2000">
                <a:solidFill>
                  <a:srgbClr val="179C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lication-oriented research for the immediate benefit of the economy and society</a:t>
            </a:r>
            <a:endParaRPr lang="de-DE" sz="2000" kern="0">
              <a:solidFill>
                <a:schemeClr val="tx2"/>
              </a:solidFill>
            </a:endParaRPr>
          </a:p>
        </p:txBody>
      </p:sp>
      <p:sp>
        <p:nvSpPr>
          <p:cNvPr id="3" name="Rechteck 2"/>
          <p:cNvSpPr/>
          <p:nvPr/>
        </p:nvSpPr>
        <p:spPr bwMode="auto">
          <a:xfrm>
            <a:off x="448973" y="909051"/>
            <a:ext cx="10457048" cy="5136304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>
              <a:spcAft>
                <a:spcPct val="40000"/>
              </a:spcAft>
            </a:pPr>
            <a:endParaRPr lang="de-DE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5848" b="15984"/>
          <a:stretch/>
        </p:blipFill>
        <p:spPr>
          <a:xfrm>
            <a:off x="1837147" y="1485037"/>
            <a:ext cx="4726226" cy="4557283"/>
          </a:xfrm>
          <a:prstGeom prst="rect">
            <a:avLst/>
          </a:prstGeom>
        </p:spPr>
      </p:pic>
      <p:sp>
        <p:nvSpPr>
          <p:cNvPr id="6" name="Rechteck 5"/>
          <p:cNvSpPr/>
          <p:nvPr/>
        </p:nvSpPr>
        <p:spPr>
          <a:xfrm>
            <a:off x="679726" y="2622407"/>
            <a:ext cx="1637157" cy="49237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588" lvl="1">
              <a:buClr>
                <a:srgbClr val="179C7D"/>
              </a:buClr>
            </a:pPr>
            <a:r>
              <a:rPr lang="de-DE" sz="1600" b="1">
                <a:solidFill>
                  <a:srgbClr val="179C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6</a:t>
            </a:r>
            <a:r>
              <a:rPr lang="de-DE" sz="16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600" b="1">
                <a:solidFill>
                  <a:srgbClr val="179C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00</a:t>
            </a:r>
            <a:r>
              <a:rPr lang="de-DE" sz="16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60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ployees</a:t>
            </a:r>
            <a:r>
              <a:rPr lang="de-DE" sz="16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pic>
        <p:nvPicPr>
          <p:cNvPr id="13" name="Picture 4" descr="http://www.trivaeo.com/usa/wp-content/themes/bota/mouseovers/cloud_premis_01.png"/>
          <p:cNvPicPr>
            <a:picLocks noChangeAspect="1" noChangeArrowheads="1"/>
          </p:cNvPicPr>
          <p:nvPr/>
        </p:nvPicPr>
        <p:blipFill>
          <a:blip r:embed="rId4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0" b="90000" l="6800" r="94600">
                        <a14:foregroundMark x1="55000" y1="79800" x2="55000" y2="79800"/>
                      </a14:backgroundRemoval>
                    </a14:imgEffect>
                    <a14:imgEffect>
                      <a14:colorTemperature colorTemp="7200"/>
                    </a14:imgEffect>
                    <a14:imgEffect>
                      <a14:brightnessContrast bright="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8220" y="4106027"/>
            <a:ext cx="1511971" cy="15119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Grafik 1"/>
          <p:cNvPicPr>
            <a:picLocks noChangeAspect="1"/>
          </p:cNvPicPr>
          <p:nvPr/>
        </p:nvPicPr>
        <p:blipFill>
          <a:blip r:embed="rId6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916" y="1773032"/>
            <a:ext cx="905286" cy="905286"/>
          </a:xfrm>
          <a:prstGeom prst="rect">
            <a:avLst/>
          </a:prstGeom>
        </p:spPr>
      </p:pic>
      <p:sp>
        <p:nvSpPr>
          <p:cNvPr id="190" name="Rectangle 4"/>
          <p:cNvSpPr>
            <a:spLocks noChangeArrowheads="1"/>
          </p:cNvSpPr>
          <p:nvPr/>
        </p:nvSpPr>
        <p:spPr bwMode="auto">
          <a:xfrm>
            <a:off x="679725" y="5421479"/>
            <a:ext cx="1887548" cy="4923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1588" lvl="1">
              <a:buClr>
                <a:srgbClr val="179C7D"/>
              </a:buClr>
            </a:pPr>
            <a:r>
              <a:rPr lang="de-DE" sz="1600" b="1">
                <a:solidFill>
                  <a:srgbClr val="179C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6</a:t>
            </a:r>
            <a:r>
              <a:rPr lang="de-DE" sz="16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stitutes </a:t>
            </a:r>
            <a:r>
              <a:rPr lang="de-DE" sz="160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</a:t>
            </a:r>
            <a:r>
              <a:rPr lang="de-DE" sz="16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60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earch</a:t>
            </a:r>
            <a:r>
              <a:rPr lang="de-DE" sz="16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60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cilities</a:t>
            </a:r>
            <a:endParaRPr lang="de-DE" sz="160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4" name="Grafik 33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>
          <a:xfrm>
            <a:off x="7446410" y="1634537"/>
            <a:ext cx="3671554" cy="2448926"/>
          </a:xfrm>
          <a:prstGeom prst="rect">
            <a:avLst/>
          </a:prstGeom>
        </p:spPr>
      </p:pic>
      <p:sp>
        <p:nvSpPr>
          <p:cNvPr id="35" name="Rechteck 34"/>
          <p:cNvSpPr/>
          <p:nvPr/>
        </p:nvSpPr>
        <p:spPr bwMode="auto">
          <a:xfrm>
            <a:off x="7391181" y="4115108"/>
            <a:ext cx="4175920" cy="1977841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71991" tIns="71991" rIns="71991" bIns="71991" numCol="1" anchor="t" anchorCtr="0" compatLnSpc="1">
            <a:prstTxWarp prst="textNoShape">
              <a:avLst/>
            </a:prstTxWarp>
          </a:bodyPr>
          <a:lstStyle/>
          <a:p>
            <a:pPr defTabSz="359962">
              <a:spcAft>
                <a:spcPts val="600"/>
              </a:spcAft>
              <a:buClr>
                <a:schemeClr val="tx1"/>
              </a:buClr>
            </a:pPr>
            <a:r>
              <a:rPr lang="de-DE" sz="1400" b="1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aunhofer Institut für Entwurfstechnik Mechatronik IEM Paderborn</a:t>
            </a:r>
          </a:p>
          <a:p>
            <a:pPr defTabSz="359962">
              <a:spcAft>
                <a:spcPts val="600"/>
              </a:spcAft>
              <a:buClr>
                <a:schemeClr val="tx1"/>
              </a:buClr>
            </a:pPr>
            <a:r>
              <a:rPr lang="de-DE" sz="14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f. </a:t>
            </a:r>
            <a:r>
              <a:rPr lang="de-DE" sz="1400" kern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ächtler</a:t>
            </a:r>
            <a:r>
              <a:rPr lang="de-DE" sz="14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de-DE" sz="1400" u="sng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f. Dumitrescu</a:t>
            </a:r>
            <a:r>
              <a:rPr lang="de-DE" sz="14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Prof. Bodden</a:t>
            </a:r>
          </a:p>
          <a:p>
            <a:pPr defTabSz="359962">
              <a:spcAft>
                <a:spcPts val="600"/>
              </a:spcAft>
              <a:buClr>
                <a:schemeClr val="tx1"/>
              </a:buClr>
            </a:pPr>
            <a:r>
              <a:rPr lang="en-US" sz="14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tinct orientation towards</a:t>
            </a:r>
            <a:r>
              <a:rPr lang="en-US" sz="1400" b="1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idsize companies</a:t>
            </a:r>
            <a:endParaRPr lang="de-DE" sz="1400" b="1" ker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359962">
              <a:spcAft>
                <a:spcPts val="600"/>
              </a:spcAft>
              <a:buClr>
                <a:schemeClr val="tx1"/>
              </a:buClr>
            </a:pPr>
            <a:r>
              <a:rPr lang="de-DE" sz="14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gt; </a:t>
            </a:r>
            <a:r>
              <a:rPr lang="de-DE" sz="1400" b="1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10 </a:t>
            </a:r>
            <a:r>
              <a:rPr lang="de-DE" sz="1400" b="1" kern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ployees</a:t>
            </a:r>
            <a:endParaRPr lang="de-DE" sz="1400" ker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276794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hteck 28"/>
          <p:cNvSpPr/>
          <p:nvPr/>
        </p:nvSpPr>
        <p:spPr bwMode="auto">
          <a:xfrm>
            <a:off x="578263" y="1197043"/>
            <a:ext cx="11020588" cy="310937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defTabSz="914309" fontAlgn="base">
              <a:spcBef>
                <a:spcPct val="0"/>
              </a:spcBef>
              <a:spcAft>
                <a:spcPct val="40000"/>
              </a:spcAft>
            </a:pPr>
            <a:endParaRPr lang="de-DE">
              <a:latin typeface="Frutiger LT Com 55 Roman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>
                <a:latin typeface="Arial" panose="020B0604020202020204" pitchFamily="34" charset="0"/>
                <a:cs typeface="Arial" panose="020B0604020202020204" pitchFamily="34" charset="0"/>
              </a:rPr>
              <a:t>Fraunhofer IEM</a:t>
            </a:r>
            <a:br>
              <a:rPr lang="de-DE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20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elds of </a:t>
            </a:r>
            <a:r>
              <a:rPr lang="de-DE" sz="200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ertise</a:t>
            </a:r>
            <a:endParaRPr lang="de-DE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" name="Gruppieren 4"/>
          <p:cNvGrpSpPr/>
          <p:nvPr/>
        </p:nvGrpSpPr>
        <p:grpSpPr>
          <a:xfrm>
            <a:off x="578263" y="1197043"/>
            <a:ext cx="11021384" cy="3109372"/>
            <a:chOff x="531938" y="1196752"/>
            <a:chExt cx="11069220" cy="3109777"/>
          </a:xfrm>
        </p:grpSpPr>
        <p:pic>
          <p:nvPicPr>
            <p:cNvPr id="7" name="Grafik 6"/>
            <p:cNvPicPr>
              <a:picLocks noChangeAspect="1"/>
            </p:cNvPicPr>
            <p:nvPr/>
          </p:nvPicPr>
          <p:blipFill rotWithShape="1">
            <a:blip r:embed="rId3"/>
            <a:srcRect t="1" b="42729"/>
            <a:stretch/>
          </p:blipFill>
          <p:spPr>
            <a:xfrm>
              <a:off x="531938" y="1196752"/>
              <a:ext cx="11069220" cy="864096"/>
            </a:xfrm>
            <a:prstGeom prst="rect">
              <a:avLst/>
            </a:prstGeom>
          </p:spPr>
        </p:pic>
        <p:pic>
          <p:nvPicPr>
            <p:cNvPr id="8" name="Grafik 7"/>
            <p:cNvPicPr>
              <a:picLocks noChangeAspect="1"/>
            </p:cNvPicPr>
            <p:nvPr/>
          </p:nvPicPr>
          <p:blipFill rotWithShape="1">
            <a:blip r:embed="rId4"/>
            <a:srcRect l="52031" r="10435"/>
            <a:stretch/>
          </p:blipFill>
          <p:spPr>
            <a:xfrm>
              <a:off x="534717" y="2049523"/>
              <a:ext cx="2752173" cy="2257006"/>
            </a:xfrm>
            <a:prstGeom prst="rect">
              <a:avLst/>
            </a:prstGeom>
          </p:spPr>
        </p:pic>
        <p:pic>
          <p:nvPicPr>
            <p:cNvPr id="9" name="Grafik 8"/>
            <p:cNvPicPr>
              <a:picLocks noChangeAspect="1"/>
            </p:cNvPicPr>
            <p:nvPr/>
          </p:nvPicPr>
          <p:blipFill rotWithShape="1">
            <a:blip r:embed="rId5"/>
            <a:srcRect l="28527" r="33109"/>
            <a:stretch/>
          </p:blipFill>
          <p:spPr>
            <a:xfrm>
              <a:off x="3287688" y="2049523"/>
              <a:ext cx="2781150" cy="2257006"/>
            </a:xfrm>
            <a:prstGeom prst="rect">
              <a:avLst/>
            </a:prstGeom>
          </p:spPr>
        </p:pic>
        <p:pic>
          <p:nvPicPr>
            <p:cNvPr id="10" name="Grafik 9"/>
            <p:cNvPicPr>
              <a:picLocks noChangeAspect="1"/>
            </p:cNvPicPr>
            <p:nvPr/>
          </p:nvPicPr>
          <p:blipFill rotWithShape="1">
            <a:blip r:embed="rId6"/>
            <a:srcRect l="20728" r="40845"/>
            <a:stretch/>
          </p:blipFill>
          <p:spPr>
            <a:xfrm>
              <a:off x="6069637" y="2044760"/>
              <a:ext cx="2786476" cy="2261769"/>
            </a:xfrm>
            <a:prstGeom prst="rect">
              <a:avLst/>
            </a:prstGeom>
          </p:spPr>
        </p:pic>
        <p:pic>
          <p:nvPicPr>
            <p:cNvPr id="11" name="Grafik 10"/>
            <p:cNvPicPr>
              <a:picLocks noChangeAspect="1"/>
            </p:cNvPicPr>
            <p:nvPr/>
          </p:nvPicPr>
          <p:blipFill rotWithShape="1">
            <a:blip r:embed="rId7"/>
            <a:srcRect l="24710" r="38127"/>
            <a:stretch/>
          </p:blipFill>
          <p:spPr>
            <a:xfrm>
              <a:off x="8849893" y="2044760"/>
              <a:ext cx="2750466" cy="2261769"/>
            </a:xfrm>
            <a:prstGeom prst="rect">
              <a:avLst/>
            </a:prstGeom>
          </p:spPr>
        </p:pic>
      </p:grpSp>
      <p:grpSp>
        <p:nvGrpSpPr>
          <p:cNvPr id="6" name="Gruppieren 5"/>
          <p:cNvGrpSpPr/>
          <p:nvPr/>
        </p:nvGrpSpPr>
        <p:grpSpPr>
          <a:xfrm>
            <a:off x="578263" y="4688262"/>
            <a:ext cx="11028026" cy="1371058"/>
            <a:chOff x="578339" y="4737463"/>
            <a:chExt cx="11029462" cy="1371237"/>
          </a:xfrm>
        </p:grpSpPr>
        <p:sp>
          <p:nvSpPr>
            <p:cNvPr id="3" name="Rechteck 2"/>
            <p:cNvSpPr/>
            <p:nvPr/>
          </p:nvSpPr>
          <p:spPr bwMode="auto">
            <a:xfrm>
              <a:off x="578339" y="4737463"/>
              <a:ext cx="11029462" cy="1371237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defTabSz="914309" fontAlgn="base">
                <a:spcBef>
                  <a:spcPct val="0"/>
                </a:spcBef>
                <a:spcAft>
                  <a:spcPct val="40000"/>
                </a:spcAft>
              </a:pPr>
              <a:endParaRPr lang="de-DE">
                <a:latin typeface="Frutiger LT Com 55 Roman" pitchFamily="34" charset="0"/>
              </a:endParaRPr>
            </a:p>
          </p:txBody>
        </p:sp>
        <p:pic>
          <p:nvPicPr>
            <p:cNvPr id="12" name="Picture 9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45679" y="5570052"/>
              <a:ext cx="454221" cy="4179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3" name="Picture 5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56458" y="5024389"/>
              <a:ext cx="881084" cy="4179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4" name="Picture 2" descr="http://www.seckinelektrik.com/menuis/Weidmullernoblacklogo111131.JPG"/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8240" y="5731689"/>
              <a:ext cx="1940123" cy="24860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5" name="Picture 2" descr="http://www.toparbeitgeber.com/Portals/30/ING13/225x125/WILO_225x125.jpg"/>
            <p:cNvPicPr>
              <a:picLocks noChangeAspect="1" noChangeArrowheads="1"/>
            </p:cNvPicPr>
            <p:nvPr/>
          </p:nvPicPr>
          <p:blipFill>
            <a:blip r:embed="rId11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5407" y="4896712"/>
              <a:ext cx="792977" cy="41798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6" name="Picture 33"/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44770" y="5379904"/>
              <a:ext cx="876399" cy="2609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7" name="Picture 36" descr="https://cdn13.hitmeister.de/dynamic/images/company/e4ec20fc1ab3e22ff8e077ecde5057c9.jpg"/>
            <p:cNvPicPr>
              <a:picLocks noChangeAspect="1" noChangeArrowheads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44966" y="5508571"/>
              <a:ext cx="671150" cy="4717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8" name="Picture 2" descr="Datei:Audi logo.svg"/>
            <p:cNvPicPr>
              <a:picLocks noChangeAspect="1" noChangeArrowheads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24533" y="4898995"/>
              <a:ext cx="930404" cy="53848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9" name="Picture 19"/>
            <p:cNvPicPr>
              <a:picLocks noChangeAspect="1" noChangeArrowheads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8286" y="5055726"/>
              <a:ext cx="1433577" cy="27228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0" name="Picture 25" descr="H:\its OWL\32 Basisunternehmen\Logos\Logos bearbeitet\Müller Elektronik.png"/>
            <p:cNvPicPr>
              <a:picLocks noChangeAspect="1" noChangeArrowheads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29891" y="5654523"/>
              <a:ext cx="1349329" cy="37618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1" name="Picture 2" descr="http://www.viprosim.de/uploads/tx_uservitrabestpractice/HellaLogoNeu.jpg"/>
            <p:cNvPicPr>
              <a:picLocks noChangeAspect="1" noChangeArrowheads="1"/>
            </p:cNvPicPr>
            <p:nvPr/>
          </p:nvPicPr>
          <p:blipFill>
            <a:blip r:embed="rId17" cstate="print">
              <a:clrChange>
                <a:clrFrom>
                  <a:srgbClr val="FDFFFE"/>
                </a:clrFrom>
                <a:clrTo>
                  <a:srgbClr val="FDFFF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07166" y="5593758"/>
              <a:ext cx="536439" cy="4179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2" name="Picture 2" descr="http://www.zdnet.de/wp-content/uploads/2015/11/Toyota-Logo.jpg"/>
            <p:cNvPicPr>
              <a:picLocks noChangeAspect="1" noChangeArrowheads="1"/>
            </p:cNvPicPr>
            <p:nvPr/>
          </p:nvPicPr>
          <p:blipFill>
            <a:blip r:embed="rId18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53910" y="4870387"/>
              <a:ext cx="880290" cy="6264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3" name="Picture 30" descr="http://www.gts-automation.com/gts/images/gtsnews/Beckhoff.png"/>
            <p:cNvPicPr>
              <a:picLocks noChangeAspect="1" noChangeArrowheads="1"/>
            </p:cNvPicPr>
            <p:nvPr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03231" y="5704320"/>
              <a:ext cx="1428206" cy="2574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4" name="Picture 3"/>
            <p:cNvPicPr>
              <a:picLocks noChangeAspect="1" noChangeArrowheads="1"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588002" y="4949531"/>
              <a:ext cx="1570091" cy="41798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5" name="Picture 11" descr="http://karriereportal.wibinet.net/media/2013/02/Schaeffler.jpg"/>
            <p:cNvPicPr>
              <a:picLocks noChangeAspect="1" noChangeArrowheads="1"/>
            </p:cNvPicPr>
            <p:nvPr/>
          </p:nvPicPr>
          <p:blipFill>
            <a:blip r:embed="rId2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38294" y="4930508"/>
              <a:ext cx="1035250" cy="4754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6" name="Picture 8" descr="Ähnliches Foto"/>
            <p:cNvPicPr>
              <a:picLocks noChangeAspect="1" noChangeArrowheads="1"/>
            </p:cNvPicPr>
            <p:nvPr/>
          </p:nvPicPr>
          <p:blipFill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823529" y="5532922"/>
              <a:ext cx="1628397" cy="48116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7" name="Picture 10" descr="Bildergebnis für miele logo"/>
            <p:cNvPicPr>
              <a:picLocks noChangeAspect="1" noChangeArrowheads="1"/>
            </p:cNvPicPr>
            <p:nvPr/>
          </p:nvPicPr>
          <p:blipFill rotWithShape="1">
            <a:blip r:embed="rId2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5659" b="29047"/>
            <a:stretch/>
          </p:blipFill>
          <p:spPr bwMode="auto">
            <a:xfrm>
              <a:off x="8316208" y="5481087"/>
              <a:ext cx="1322550" cy="31957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8" name="Picture 12" descr="Bildergebnis für braun logo"/>
            <p:cNvPicPr>
              <a:picLocks noChangeAspect="1" noChangeArrowheads="1"/>
            </p:cNvPicPr>
            <p:nvPr/>
          </p:nvPicPr>
          <p:blipFill rotWithShape="1">
            <a:blip r:embed="rId2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0969" b="21821"/>
            <a:stretch/>
          </p:blipFill>
          <p:spPr bwMode="auto">
            <a:xfrm>
              <a:off x="10408335" y="4896712"/>
              <a:ext cx="1002966" cy="37021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7937736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9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123"/>
          <a:stretch/>
        </p:blipFill>
        <p:spPr>
          <a:xfrm>
            <a:off x="-1" y="-20419"/>
            <a:ext cx="12190413" cy="6905353"/>
          </a:xfrm>
          <a:prstGeom prst="rect">
            <a:avLst/>
          </a:prstGeom>
        </p:spPr>
      </p:pic>
      <p:sp>
        <p:nvSpPr>
          <p:cNvPr id="16" name="Wolkenförmige Legende 15"/>
          <p:cNvSpPr/>
          <p:nvPr/>
        </p:nvSpPr>
        <p:spPr bwMode="auto">
          <a:xfrm>
            <a:off x="237908" y="75667"/>
            <a:ext cx="2902216" cy="1449203"/>
          </a:xfrm>
          <a:prstGeom prst="cloudCallout">
            <a:avLst>
              <a:gd name="adj1" fmla="val 23977"/>
              <a:gd name="adj2" fmla="val 64802"/>
            </a:avLst>
          </a:prstGeom>
          <a:blipFill dpi="0"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solidFill>
              <a:schemeClr val="tx1"/>
            </a:solidFill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23" name="Wolkenförmige Legende 22"/>
          <p:cNvSpPr/>
          <p:nvPr/>
        </p:nvSpPr>
        <p:spPr bwMode="auto">
          <a:xfrm>
            <a:off x="3621552" y="3941"/>
            <a:ext cx="2902216" cy="1449203"/>
          </a:xfrm>
          <a:prstGeom prst="cloudCallout">
            <a:avLst>
              <a:gd name="adj1" fmla="val 34978"/>
              <a:gd name="adj2" fmla="val 62242"/>
            </a:avLst>
          </a:prstGeom>
          <a:blipFill dpi="0"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solidFill>
              <a:schemeClr val="tx1"/>
            </a:solidFill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25" name="Wolkenförmige Legende 24"/>
          <p:cNvSpPr/>
          <p:nvPr/>
        </p:nvSpPr>
        <p:spPr bwMode="auto">
          <a:xfrm>
            <a:off x="7478935" y="20527"/>
            <a:ext cx="2902216" cy="1449203"/>
          </a:xfrm>
          <a:prstGeom prst="cloudCallout">
            <a:avLst>
              <a:gd name="adj1" fmla="val 74271"/>
              <a:gd name="adj2" fmla="val 19422"/>
            </a:avLst>
          </a:prstGeom>
          <a:blipFill dpi="0"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solidFill>
              <a:schemeClr val="tx1"/>
            </a:solidFill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26" name="Rectangle 17"/>
          <p:cNvSpPr/>
          <p:nvPr/>
        </p:nvSpPr>
        <p:spPr>
          <a:xfrm>
            <a:off x="237908" y="5804955"/>
            <a:ext cx="11617188" cy="935982"/>
          </a:xfrm>
          <a:prstGeom prst="rect">
            <a:avLst/>
          </a:prstGeom>
          <a:gradFill flip="none" rotWithShape="1">
            <a:gsLst>
              <a:gs pos="100000">
                <a:srgbClr val="00AEAD">
                  <a:alpha val="80000"/>
                </a:srgbClr>
              </a:gs>
              <a:gs pos="40000">
                <a:srgbClr val="006C90">
                  <a:alpha val="80000"/>
                </a:srgbClr>
              </a:gs>
              <a:gs pos="0">
                <a:srgbClr val="00658D">
                  <a:alpha val="80000"/>
                </a:srgbClr>
              </a:gs>
            </a:gsLst>
            <a:lin ang="0" scaled="1"/>
            <a:tileRect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1428" tIns="45714" rIns="91428" bIns="4571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400" b="1">
              <a:solidFill>
                <a:schemeClr val="bg1"/>
              </a:solidFill>
              <a:latin typeface="Arial" panose="020B0604020202020204"/>
            </a:endParaRPr>
          </a:p>
        </p:txBody>
      </p:sp>
      <p:sp>
        <p:nvSpPr>
          <p:cNvPr id="27" name="TextBox 59"/>
          <p:cNvSpPr txBox="1"/>
          <p:nvPr/>
        </p:nvSpPr>
        <p:spPr>
          <a:xfrm>
            <a:off x="657717" y="6102857"/>
            <a:ext cx="11438785" cy="3401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828251">
              <a:lnSpc>
                <a:spcPct val="80000"/>
              </a:lnSpc>
            </a:pPr>
            <a:r>
              <a:rPr lang="en-US" sz="200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fferent stakeholder – Different approaches</a:t>
            </a:r>
            <a:endParaRPr lang="de-DE" sz="200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8" name="Grafik 2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1392158">
            <a:off x="9479142" y="2371291"/>
            <a:ext cx="783677" cy="2480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66904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23" grpId="0" animBg="1"/>
      <p:bldP spid="25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Vision</a:t>
            </a:r>
            <a:br>
              <a:rPr lang="de-DE"/>
            </a:br>
            <a:r>
              <a:rPr lang="de-DE" sz="2000" err="1">
                <a:solidFill>
                  <a:schemeClr val="tx2"/>
                </a:solidFill>
              </a:rPr>
              <a:t>Advanced</a:t>
            </a:r>
            <a:r>
              <a:rPr lang="de-DE" sz="2000">
                <a:solidFill>
                  <a:schemeClr val="tx2"/>
                </a:solidFill>
              </a:rPr>
              <a:t> Digital Engineering</a:t>
            </a:r>
            <a:endParaRPr lang="de-DE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8861" y="1197043"/>
            <a:ext cx="3932973" cy="2621982"/>
          </a:xfrm>
          <a:prstGeom prst="rect">
            <a:avLst/>
          </a:prstGeom>
        </p:spPr>
      </p:pic>
      <p:pic>
        <p:nvPicPr>
          <p:cNvPr id="14" name="Grafik 1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7665" y="3855457"/>
            <a:ext cx="3954169" cy="1977085"/>
          </a:xfrm>
          <a:prstGeom prst="rect">
            <a:avLst/>
          </a:prstGeom>
        </p:spPr>
      </p:pic>
      <p:sp>
        <p:nvSpPr>
          <p:cNvPr id="16" name="Rechteck 15">
            <a:extLst>
              <a:ext uri="{FF2B5EF4-FFF2-40B4-BE49-F238E27FC236}">
                <a16:creationId xmlns:a16="http://schemas.microsoft.com/office/drawing/2014/main" id="{C91A5867-E0FD-4D43-BAFD-C5B7DF22EF38}"/>
              </a:ext>
            </a:extLst>
          </p:cNvPr>
          <p:cNvSpPr/>
          <p:nvPr/>
        </p:nvSpPr>
        <p:spPr>
          <a:xfrm>
            <a:off x="6340916" y="1701033"/>
            <a:ext cx="4722195" cy="622810"/>
          </a:xfrm>
          <a:prstGeom prst="rect">
            <a:avLst/>
          </a:prstGeom>
          <a:gradFill flip="none" rotWithShape="1">
            <a:gsLst>
              <a:gs pos="100000">
                <a:srgbClr val="00AEAD">
                  <a:alpha val="80000"/>
                </a:srgbClr>
              </a:gs>
              <a:gs pos="40000">
                <a:srgbClr val="006C90">
                  <a:alpha val="80000"/>
                </a:srgbClr>
              </a:gs>
              <a:gs pos="0">
                <a:srgbClr val="00658D">
                  <a:alpha val="80000"/>
                </a:srgbClr>
              </a:gs>
            </a:gsLst>
            <a:lin ang="0" scaled="1"/>
            <a:tileRect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1428" tIns="45714" rIns="91428" bIns="4571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>
                <a:solidFill>
                  <a:schemeClr val="bg1"/>
                </a:solidFill>
                <a:latin typeface="Arial" panose="020B0604020202020204"/>
              </a:rPr>
              <a:t>How can creativity and communication be supported by the use new technologies?</a:t>
            </a:r>
            <a:endParaRPr lang="de-DE" sz="1400" b="1">
              <a:solidFill>
                <a:schemeClr val="bg1"/>
              </a:solidFill>
              <a:latin typeface="Arial" panose="020B0604020202020204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11E15375-1D03-486D-80BC-978E5610D5C5}"/>
              </a:ext>
            </a:extLst>
          </p:cNvPr>
          <p:cNvSpPr/>
          <p:nvPr/>
        </p:nvSpPr>
        <p:spPr>
          <a:xfrm>
            <a:off x="6340916" y="2476457"/>
            <a:ext cx="4722195" cy="798856"/>
          </a:xfrm>
          <a:prstGeom prst="rect">
            <a:avLst/>
          </a:prstGeom>
          <a:gradFill flip="none" rotWithShape="1">
            <a:gsLst>
              <a:gs pos="100000">
                <a:srgbClr val="00AEAD">
                  <a:alpha val="80000"/>
                </a:srgbClr>
              </a:gs>
              <a:gs pos="40000">
                <a:srgbClr val="006C90">
                  <a:alpha val="80000"/>
                </a:srgbClr>
              </a:gs>
              <a:gs pos="0">
                <a:srgbClr val="00658D">
                  <a:alpha val="80000"/>
                </a:srgbClr>
              </a:gs>
            </a:gsLst>
            <a:lin ang="0" scaled="1"/>
            <a:tileRect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1428" tIns="45714" rIns="91428" bIns="4571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>
                <a:solidFill>
                  <a:schemeClr val="bg1"/>
                </a:solidFill>
                <a:latin typeface="Arial" panose="020B0604020202020204"/>
              </a:rPr>
              <a:t>How can the user be supported by the automated deduction of further relevant models by an artificial intelligence?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35C56531-EF66-44B4-B221-F7915F6CEE72}"/>
              </a:ext>
            </a:extLst>
          </p:cNvPr>
          <p:cNvSpPr/>
          <p:nvPr/>
        </p:nvSpPr>
        <p:spPr>
          <a:xfrm>
            <a:off x="6340916" y="3457481"/>
            <a:ext cx="4722195" cy="798856"/>
          </a:xfrm>
          <a:prstGeom prst="rect">
            <a:avLst/>
          </a:prstGeom>
          <a:gradFill flip="none" rotWithShape="1">
            <a:gsLst>
              <a:gs pos="100000">
                <a:srgbClr val="00AEAD">
                  <a:alpha val="80000"/>
                </a:srgbClr>
              </a:gs>
              <a:gs pos="40000">
                <a:srgbClr val="006C90">
                  <a:alpha val="80000"/>
                </a:srgbClr>
              </a:gs>
              <a:gs pos="0">
                <a:srgbClr val="00658D">
                  <a:alpha val="80000"/>
                </a:srgbClr>
              </a:gs>
            </a:gsLst>
            <a:lin ang="0" scaled="1"/>
            <a:tileRect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1428" tIns="45714" rIns="91428" bIns="4571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>
                <a:solidFill>
                  <a:schemeClr val="bg1"/>
                </a:solidFill>
                <a:latin typeface="Arial" panose="020B0604020202020204"/>
              </a:rPr>
              <a:t>How can unstructured knowledge about threats and vulnerabilities from news, blogs, etc. be integrated automatically?</a:t>
            </a:r>
            <a:endParaRPr lang="de-DE" sz="1400" b="1">
              <a:solidFill>
                <a:schemeClr val="bg1"/>
              </a:solidFill>
              <a:latin typeface="Arial" panose="020B0604020202020204"/>
            </a:endParaRPr>
          </a:p>
        </p:txBody>
      </p:sp>
      <p:pic>
        <p:nvPicPr>
          <p:cNvPr id="19" name="Grafik 1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69784" y="2466117"/>
            <a:ext cx="1754868" cy="1754868"/>
          </a:xfrm>
          <a:prstGeom prst="rect">
            <a:avLst/>
          </a:prstGeom>
        </p:spPr>
      </p:pic>
      <p:pic>
        <p:nvPicPr>
          <p:cNvPr id="20" name="Picture 6" descr="https://images-na.ssl-images-amazon.com/images/I/71nK%2BJjLzzL._SL1500_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46335" y="4476104"/>
            <a:ext cx="2239890" cy="11169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Grafik 20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573582" y="4506580"/>
            <a:ext cx="1588370" cy="1006946"/>
          </a:xfrm>
          <a:prstGeom prst="rect">
            <a:avLst/>
          </a:prstGeom>
        </p:spPr>
      </p:pic>
      <p:sp>
        <p:nvSpPr>
          <p:cNvPr id="22" name="Textfeld 21"/>
          <p:cNvSpPr txBox="1"/>
          <p:nvPr/>
        </p:nvSpPr>
        <p:spPr>
          <a:xfrm>
            <a:off x="10145459" y="5562521"/>
            <a:ext cx="1016493" cy="2154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800">
                <a:solidFill>
                  <a:schemeClr val="bg2">
                    <a:lumMod val="75000"/>
                  </a:schemeClr>
                </a:solidFill>
              </a:rPr>
              <a:t>Source: Microsoft</a:t>
            </a:r>
          </a:p>
        </p:txBody>
      </p:sp>
      <p:sp>
        <p:nvSpPr>
          <p:cNvPr id="23" name="Textfeld 22"/>
          <p:cNvSpPr txBox="1"/>
          <p:nvPr/>
        </p:nvSpPr>
        <p:spPr>
          <a:xfrm>
            <a:off x="6811824" y="5562521"/>
            <a:ext cx="1112660" cy="2154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800">
                <a:solidFill>
                  <a:schemeClr val="bg2">
                    <a:lumMod val="75000"/>
                  </a:schemeClr>
                </a:solidFill>
              </a:rPr>
              <a:t>Source: Occulus VR</a:t>
            </a:r>
          </a:p>
        </p:txBody>
      </p:sp>
      <p:pic>
        <p:nvPicPr>
          <p:cNvPr id="24" name="Grafik 23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38942" y="4499428"/>
            <a:ext cx="1147570" cy="11475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55392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7" grpId="0" animBg="1"/>
      <p:bldP spid="18" grpId="0" animBg="1"/>
      <p:bldP spid="22" grpId="0"/>
      <p:bldP spid="23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feld 4"/>
          <p:cNvSpPr txBox="1"/>
          <p:nvPr/>
        </p:nvSpPr>
        <p:spPr>
          <a:xfrm>
            <a:off x="505444" y="6261412"/>
            <a:ext cx="5831287" cy="2154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800">
                <a:solidFill>
                  <a:schemeClr val="bg2">
                    <a:lumMod val="75000"/>
                  </a:schemeClr>
                </a:solidFill>
              </a:rPr>
              <a:t>Japs et. al., </a:t>
            </a:r>
            <a:r>
              <a:rPr lang="de-DE" sz="800" err="1">
                <a:solidFill>
                  <a:schemeClr val="bg2">
                    <a:lumMod val="75000"/>
                  </a:schemeClr>
                </a:solidFill>
              </a:rPr>
              <a:t>Method</a:t>
            </a:r>
            <a:r>
              <a:rPr lang="de-DE" sz="800">
                <a:solidFill>
                  <a:schemeClr val="bg2">
                    <a:lumMod val="75000"/>
                  </a:schemeClr>
                </a:solidFill>
              </a:rPr>
              <a:t> </a:t>
            </a:r>
            <a:r>
              <a:rPr lang="de-DE" sz="800" err="1">
                <a:solidFill>
                  <a:schemeClr val="bg2">
                    <a:lumMod val="75000"/>
                  </a:schemeClr>
                </a:solidFill>
              </a:rPr>
              <a:t>for</a:t>
            </a:r>
            <a:r>
              <a:rPr lang="de-DE" sz="800">
                <a:solidFill>
                  <a:schemeClr val="bg2">
                    <a:lumMod val="75000"/>
                  </a:schemeClr>
                </a:solidFill>
              </a:rPr>
              <a:t> 3D-Environment </a:t>
            </a:r>
            <a:r>
              <a:rPr lang="de-DE" sz="800" err="1">
                <a:solidFill>
                  <a:schemeClr val="bg2">
                    <a:lumMod val="75000"/>
                  </a:schemeClr>
                </a:solidFill>
              </a:rPr>
              <a:t>Driven</a:t>
            </a:r>
            <a:r>
              <a:rPr lang="de-DE" sz="800">
                <a:solidFill>
                  <a:schemeClr val="bg2">
                    <a:lumMod val="75000"/>
                  </a:schemeClr>
                </a:solidFill>
              </a:rPr>
              <a:t> System Design </a:t>
            </a:r>
            <a:r>
              <a:rPr lang="de-DE" sz="800" err="1">
                <a:solidFill>
                  <a:schemeClr val="bg2">
                    <a:lumMod val="75000"/>
                  </a:schemeClr>
                </a:solidFill>
              </a:rPr>
              <a:t>and</a:t>
            </a:r>
            <a:r>
              <a:rPr lang="de-DE" sz="800">
                <a:solidFill>
                  <a:schemeClr val="bg2">
                    <a:lumMod val="75000"/>
                  </a:schemeClr>
                </a:solidFill>
              </a:rPr>
              <a:t> </a:t>
            </a:r>
            <a:r>
              <a:rPr lang="de-DE" sz="800" err="1">
                <a:solidFill>
                  <a:schemeClr val="bg2">
                    <a:lumMod val="75000"/>
                  </a:schemeClr>
                </a:solidFill>
              </a:rPr>
              <a:t>Automatic</a:t>
            </a:r>
            <a:r>
              <a:rPr lang="de-DE" sz="800">
                <a:solidFill>
                  <a:schemeClr val="bg2">
                    <a:lumMod val="75000"/>
                  </a:schemeClr>
                </a:solidFill>
              </a:rPr>
              <a:t> Derivation </a:t>
            </a:r>
            <a:r>
              <a:rPr lang="de-DE" sz="800" err="1">
                <a:solidFill>
                  <a:schemeClr val="bg2">
                    <a:lumMod val="75000"/>
                  </a:schemeClr>
                </a:solidFill>
              </a:rPr>
              <a:t>of</a:t>
            </a:r>
            <a:r>
              <a:rPr lang="de-DE" sz="800">
                <a:solidFill>
                  <a:schemeClr val="bg2">
                    <a:lumMod val="75000"/>
                  </a:schemeClr>
                </a:solidFill>
              </a:rPr>
              <a:t> a System Model, DESIGN 2020</a:t>
            </a:r>
          </a:p>
        </p:txBody>
      </p:sp>
      <p:sp>
        <p:nvSpPr>
          <p:cNvPr id="13" name="Titel 1"/>
          <p:cNvSpPr>
            <a:spLocks noGrp="1"/>
          </p:cNvSpPr>
          <p:nvPr>
            <p:ph type="title"/>
          </p:nvPr>
        </p:nvSpPr>
        <p:spPr>
          <a:xfrm>
            <a:off x="578263" y="335203"/>
            <a:ext cx="11021383" cy="1255711"/>
          </a:xfrm>
        </p:spPr>
        <p:txBody>
          <a:bodyPr/>
          <a:lstStyle/>
          <a:p>
            <a:r>
              <a:rPr lang="de-DE" err="1"/>
              <a:t>Advanced</a:t>
            </a:r>
            <a:r>
              <a:rPr lang="de-DE"/>
              <a:t> Digital Engineering</a:t>
            </a:r>
            <a:br>
              <a:rPr lang="de-DE"/>
            </a:br>
            <a:r>
              <a:rPr lang="de-DE" sz="2000">
                <a:solidFill>
                  <a:schemeClr val="tx2"/>
                </a:solidFill>
              </a:rPr>
              <a:t>First </a:t>
            </a:r>
            <a:r>
              <a:rPr lang="de-DE" sz="2000" err="1">
                <a:solidFill>
                  <a:schemeClr val="tx2"/>
                </a:solidFill>
              </a:rPr>
              <a:t>Results</a:t>
            </a:r>
            <a:endParaRPr lang="de-DE"/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447"/>
            <a:ext cx="12251707" cy="6857107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51748585-F137-4454-A00B-F73022AEF5E0}"/>
              </a:ext>
            </a:extLst>
          </p:cNvPr>
          <p:cNvSpPr/>
          <p:nvPr/>
        </p:nvSpPr>
        <p:spPr bwMode="auto">
          <a:xfrm>
            <a:off x="-22857" y="6705173"/>
            <a:ext cx="9573997" cy="152381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0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r>
              <a:rPr lang="de-DE" sz="1000"/>
              <a:t>  Batmobile: https://sketchfab.com/sam146</a:t>
            </a:r>
          </a:p>
          <a:p>
            <a:endParaRPr lang="de-DE" sz="1000">
              <a:latin typeface="Frutiger LT Com 55 Roman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108701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" name="Titel 1">
            <a:extLst>
              <a:ext uri="{FF2B5EF4-FFF2-40B4-BE49-F238E27FC236}">
                <a16:creationId xmlns:a16="http://schemas.microsoft.com/office/drawing/2014/main" id="{256F80A9-4162-42AA-B1D1-118779CA7A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8263" y="335203"/>
            <a:ext cx="11021383" cy="1255711"/>
          </a:xfrm>
        </p:spPr>
        <p:txBody>
          <a:bodyPr/>
          <a:lstStyle/>
          <a:p>
            <a:r>
              <a:rPr lang="de-DE" err="1"/>
              <a:t>Advanced</a:t>
            </a:r>
            <a:r>
              <a:rPr lang="de-DE"/>
              <a:t> Digital Engineering</a:t>
            </a:r>
            <a:br>
              <a:rPr lang="de-DE"/>
            </a:br>
            <a:r>
              <a:rPr lang="de-DE" sz="2000">
                <a:solidFill>
                  <a:schemeClr val="tx2"/>
                </a:solidFill>
              </a:rPr>
              <a:t>First </a:t>
            </a:r>
            <a:r>
              <a:rPr lang="de-DE" sz="2000" err="1">
                <a:solidFill>
                  <a:schemeClr val="tx2"/>
                </a:solidFill>
              </a:rPr>
              <a:t>Results</a:t>
            </a:r>
            <a:endParaRPr lang="de-DE"/>
          </a:p>
        </p:txBody>
      </p:sp>
      <p:pic>
        <p:nvPicPr>
          <p:cNvPr id="104" name="Grafik 103">
            <a:extLst>
              <a:ext uri="{FF2B5EF4-FFF2-40B4-BE49-F238E27FC236}">
                <a16:creationId xmlns:a16="http://schemas.microsoft.com/office/drawing/2014/main" id="{1D44187A-BCA4-43AC-8830-F3DD69334BA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" y="662"/>
            <a:ext cx="12190413" cy="6856676"/>
          </a:xfrm>
          <a:prstGeom prst="rect">
            <a:avLst/>
          </a:prstGeom>
        </p:spPr>
      </p:pic>
      <p:sp>
        <p:nvSpPr>
          <p:cNvPr id="60" name="Rechteck 59">
            <a:extLst>
              <a:ext uri="{FF2B5EF4-FFF2-40B4-BE49-F238E27FC236}">
                <a16:creationId xmlns:a16="http://schemas.microsoft.com/office/drawing/2014/main" id="{51748585-F137-4454-A00B-F73022AEF5E0}"/>
              </a:ext>
            </a:extLst>
          </p:cNvPr>
          <p:cNvSpPr/>
          <p:nvPr/>
        </p:nvSpPr>
        <p:spPr bwMode="auto">
          <a:xfrm>
            <a:off x="-22857" y="6705173"/>
            <a:ext cx="9573997" cy="152381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0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r>
              <a:rPr lang="de-DE" sz="1000">
                <a:latin typeface="Frutiger LT Com 55 Roman" pitchFamily="34" charset="0"/>
              </a:rPr>
              <a:t>  </a:t>
            </a:r>
            <a:r>
              <a:rPr lang="de-DE" sz="1000" err="1">
                <a:latin typeface="Frutiger LT Com 55 Roman" pitchFamily="34" charset="0"/>
              </a:rPr>
              <a:t>Pedestrians</a:t>
            </a:r>
            <a:r>
              <a:rPr lang="de-DE" sz="1000"/>
              <a:t>: https://sketchfab.com/norgeotloic</a:t>
            </a:r>
            <a:endParaRPr lang="de-DE" sz="1000">
              <a:latin typeface="Frutiger LT Com 55 Roman" pitchFamily="34" charset="0"/>
            </a:endParaRPr>
          </a:p>
        </p:txBody>
      </p:sp>
      <p:sp>
        <p:nvSpPr>
          <p:cNvPr id="75" name="System of Interest">
            <a:extLst>
              <a:ext uri="{FF2B5EF4-FFF2-40B4-BE49-F238E27FC236}">
                <a16:creationId xmlns:a16="http://schemas.microsoft.com/office/drawing/2014/main" id="{3C3148A1-3729-405F-9AF5-4AFA165E3526}"/>
              </a:ext>
            </a:extLst>
          </p:cNvPr>
          <p:cNvSpPr/>
          <p:nvPr/>
        </p:nvSpPr>
        <p:spPr>
          <a:xfrm>
            <a:off x="5394293" y="4419801"/>
            <a:ext cx="1952869" cy="1267253"/>
          </a:xfrm>
          <a:prstGeom prst="hexagon">
            <a:avLst>
              <a:gd name="adj" fmla="val 0"/>
              <a:gd name="vf" fmla="val 115470"/>
            </a:avLst>
          </a:prstGeom>
          <a:solidFill>
            <a:srgbClr val="3384A4"/>
          </a:solidFill>
          <a:ln w="12700">
            <a:solidFill>
              <a:srgbClr val="00658D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sz="1400" b="1" err="1">
                <a:solidFill>
                  <a:srgbClr val="000000"/>
                </a:solidFill>
                <a:latin typeface="Arial" panose="020B0604020202020204"/>
              </a:rPr>
              <a:t>Autonomous</a:t>
            </a:r>
            <a:r>
              <a:rPr lang="de-DE" sz="1400" b="1">
                <a:solidFill>
                  <a:srgbClr val="000000"/>
                </a:solidFill>
                <a:latin typeface="Arial" panose="020B0604020202020204"/>
              </a:rPr>
              <a:t> </a:t>
            </a:r>
            <a:r>
              <a:rPr lang="de-DE" sz="1400" b="1" err="1">
                <a:solidFill>
                  <a:srgbClr val="000000"/>
                </a:solidFill>
                <a:latin typeface="Arial" panose="020B0604020202020204"/>
              </a:rPr>
              <a:t>car</a:t>
            </a:r>
            <a:endParaRPr lang="de-DE" sz="1400" b="1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76" name="Sechseck 75">
            <a:extLst>
              <a:ext uri="{FF2B5EF4-FFF2-40B4-BE49-F238E27FC236}">
                <a16:creationId xmlns:a16="http://schemas.microsoft.com/office/drawing/2014/main" id="{BAA932D4-36F0-4B99-A901-7A97F0D2FDEF}"/>
              </a:ext>
            </a:extLst>
          </p:cNvPr>
          <p:cNvSpPr/>
          <p:nvPr/>
        </p:nvSpPr>
        <p:spPr>
          <a:xfrm>
            <a:off x="8280161" y="4833474"/>
            <a:ext cx="1126982" cy="395948"/>
          </a:xfrm>
          <a:prstGeom prst="hexagon">
            <a:avLst>
              <a:gd name="adj" fmla="val 0"/>
              <a:gd name="vf" fmla="val 115470"/>
            </a:avLst>
          </a:prstGeom>
          <a:solidFill>
            <a:srgbClr val="FFFE99"/>
          </a:solidFill>
          <a:ln w="12700">
            <a:solidFill>
              <a:srgbClr val="ECEA83">
                <a:alpha val="70000"/>
              </a:srgbClr>
            </a:solidFill>
          </a:ln>
        </p:spPr>
        <p:txBody>
          <a:bodyPr wrap="square" lIns="0" rIns="0" rtlCol="0" anchor="ctr">
            <a:noAutofit/>
          </a:bodyPr>
          <a:lstStyle/>
          <a:p>
            <a:pPr algn="ctr"/>
            <a:r>
              <a:rPr lang="de-DE" sz="1400">
                <a:solidFill>
                  <a:srgbClr val="000000"/>
                </a:solidFill>
                <a:latin typeface="Arial" panose="020B0604020202020204"/>
              </a:rPr>
              <a:t>Street</a:t>
            </a:r>
          </a:p>
        </p:txBody>
      </p:sp>
      <p:sp>
        <p:nvSpPr>
          <p:cNvPr id="77" name="Sechseck 76">
            <a:extLst>
              <a:ext uri="{FF2B5EF4-FFF2-40B4-BE49-F238E27FC236}">
                <a16:creationId xmlns:a16="http://schemas.microsoft.com/office/drawing/2014/main" id="{32553C94-A655-4EBD-8ACF-A86FE3B0B13C}"/>
              </a:ext>
            </a:extLst>
          </p:cNvPr>
          <p:cNvSpPr/>
          <p:nvPr/>
        </p:nvSpPr>
        <p:spPr>
          <a:xfrm>
            <a:off x="2366241" y="3359866"/>
            <a:ext cx="1702766" cy="395948"/>
          </a:xfrm>
          <a:prstGeom prst="hexagon">
            <a:avLst>
              <a:gd name="adj" fmla="val 0"/>
              <a:gd name="vf" fmla="val 115470"/>
            </a:avLst>
          </a:prstGeom>
          <a:solidFill>
            <a:srgbClr val="FFFE99"/>
          </a:solidFill>
          <a:ln w="12700">
            <a:solidFill>
              <a:srgbClr val="ECEA83">
                <a:alpha val="70000"/>
              </a:srgbClr>
            </a:solidFill>
          </a:ln>
        </p:spPr>
        <p:txBody>
          <a:bodyPr wrap="square" lIns="0" rIns="0" rtlCol="0" anchor="ctr">
            <a:noAutofit/>
          </a:bodyPr>
          <a:lstStyle/>
          <a:p>
            <a:pPr algn="ctr"/>
            <a:r>
              <a:rPr lang="de-DE" sz="1400">
                <a:solidFill>
                  <a:srgbClr val="000000"/>
                </a:solidFill>
                <a:latin typeface="Arial" panose="020B0604020202020204"/>
              </a:rPr>
              <a:t>Other </a:t>
            </a:r>
            <a:r>
              <a:rPr lang="de-DE" sz="1400" err="1">
                <a:solidFill>
                  <a:srgbClr val="000000"/>
                </a:solidFill>
                <a:latin typeface="Arial" panose="020B0604020202020204"/>
              </a:rPr>
              <a:t>cars</a:t>
            </a:r>
            <a:endParaRPr lang="de-DE" sz="1400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80" name="Sechseck 79">
            <a:extLst>
              <a:ext uri="{FF2B5EF4-FFF2-40B4-BE49-F238E27FC236}">
                <a16:creationId xmlns:a16="http://schemas.microsoft.com/office/drawing/2014/main" id="{21D65408-CB76-4FBB-8E08-8A4D67E2BFB8}"/>
              </a:ext>
            </a:extLst>
          </p:cNvPr>
          <p:cNvSpPr/>
          <p:nvPr/>
        </p:nvSpPr>
        <p:spPr>
          <a:xfrm>
            <a:off x="3263053" y="5474860"/>
            <a:ext cx="1093460" cy="395948"/>
          </a:xfrm>
          <a:prstGeom prst="hexagon">
            <a:avLst>
              <a:gd name="adj" fmla="val 0"/>
              <a:gd name="vf" fmla="val 115470"/>
            </a:avLst>
          </a:prstGeom>
          <a:solidFill>
            <a:srgbClr val="FFFE99"/>
          </a:solidFill>
          <a:ln w="12700">
            <a:solidFill>
              <a:srgbClr val="ECEA83">
                <a:alpha val="70000"/>
              </a:srgbClr>
            </a:solidFill>
          </a:ln>
        </p:spPr>
        <p:txBody>
          <a:bodyPr wrap="square" lIns="0" rIns="0" rtlCol="0" anchor="ctr">
            <a:noAutofit/>
          </a:bodyPr>
          <a:lstStyle/>
          <a:p>
            <a:pPr algn="ctr"/>
            <a:r>
              <a:rPr lang="de-DE" sz="1400">
                <a:solidFill>
                  <a:srgbClr val="000000"/>
                </a:solidFill>
                <a:latin typeface="Arial" panose="020B0604020202020204"/>
              </a:rPr>
              <a:t>Street </a:t>
            </a:r>
            <a:r>
              <a:rPr lang="de-DE" sz="1400" err="1">
                <a:solidFill>
                  <a:srgbClr val="000000"/>
                </a:solidFill>
                <a:latin typeface="Arial" panose="020B0604020202020204"/>
              </a:rPr>
              <a:t>guards</a:t>
            </a:r>
            <a:endParaRPr lang="de-DE" sz="1400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81" name="Sechseck 80">
            <a:extLst>
              <a:ext uri="{FF2B5EF4-FFF2-40B4-BE49-F238E27FC236}">
                <a16:creationId xmlns:a16="http://schemas.microsoft.com/office/drawing/2014/main" id="{A7BDC3CC-A95F-410D-A634-DDA5919A793B}"/>
              </a:ext>
            </a:extLst>
          </p:cNvPr>
          <p:cNvSpPr/>
          <p:nvPr/>
        </p:nvSpPr>
        <p:spPr>
          <a:xfrm>
            <a:off x="5281032" y="1919269"/>
            <a:ext cx="1318165" cy="395948"/>
          </a:xfrm>
          <a:prstGeom prst="hexagon">
            <a:avLst>
              <a:gd name="adj" fmla="val 0"/>
              <a:gd name="vf" fmla="val 115470"/>
            </a:avLst>
          </a:prstGeom>
          <a:solidFill>
            <a:srgbClr val="FFFE99"/>
          </a:solidFill>
          <a:ln w="12700">
            <a:solidFill>
              <a:srgbClr val="ECEA83">
                <a:alpha val="70000"/>
              </a:srgbClr>
            </a:solidFill>
          </a:ln>
        </p:spPr>
        <p:txBody>
          <a:bodyPr wrap="square" lIns="0" rIns="0" rtlCol="0" anchor="ctr">
            <a:noAutofit/>
          </a:bodyPr>
          <a:lstStyle/>
          <a:p>
            <a:pPr algn="ctr"/>
            <a:r>
              <a:rPr lang="de-DE" sz="1400">
                <a:solidFill>
                  <a:srgbClr val="000000"/>
                </a:solidFill>
                <a:latin typeface="Arial" panose="020B0604020202020204"/>
              </a:rPr>
              <a:t>Traffic Light</a:t>
            </a:r>
          </a:p>
        </p:txBody>
      </p:sp>
      <p:cxnSp>
        <p:nvCxnSpPr>
          <p:cNvPr id="84" name="Gewinkelter Verbinder 149">
            <a:extLst>
              <a:ext uri="{FF2B5EF4-FFF2-40B4-BE49-F238E27FC236}">
                <a16:creationId xmlns:a16="http://schemas.microsoft.com/office/drawing/2014/main" id="{154FFD4D-D4B0-4089-A412-753ACB5E2D2A}"/>
              </a:ext>
            </a:extLst>
          </p:cNvPr>
          <p:cNvCxnSpPr>
            <a:cxnSpLocks/>
            <a:stCxn id="76" idx="3"/>
            <a:endCxn id="75" idx="0"/>
          </p:cNvCxnSpPr>
          <p:nvPr/>
        </p:nvCxnSpPr>
        <p:spPr bwMode="auto">
          <a:xfrm flipH="1">
            <a:off x="7347162" y="5031448"/>
            <a:ext cx="932999" cy="21979"/>
          </a:xfrm>
          <a:prstGeom prst="straightConnector1">
            <a:avLst/>
          </a:prstGeom>
          <a:noFill/>
          <a:ln w="12700" cap="flat" cmpd="sng" algn="ctr">
            <a:solidFill>
              <a:srgbClr val="C00000">
                <a:alpha val="70000"/>
              </a:srgbClr>
            </a:solidFill>
            <a:prstDash val="solid"/>
            <a:round/>
            <a:headEnd type="triangle" w="med" len="lg"/>
            <a:tailEnd type="triangle" w="med" len="lg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7" name="Gewinkelter Verbinder 150">
            <a:extLst>
              <a:ext uri="{FF2B5EF4-FFF2-40B4-BE49-F238E27FC236}">
                <a16:creationId xmlns:a16="http://schemas.microsoft.com/office/drawing/2014/main" id="{BAAC5011-F1F8-4387-B2D5-15F8CFB8D70A}"/>
              </a:ext>
            </a:extLst>
          </p:cNvPr>
          <p:cNvCxnSpPr>
            <a:cxnSpLocks/>
            <a:stCxn id="75" idx="4"/>
            <a:endCxn id="77" idx="0"/>
          </p:cNvCxnSpPr>
          <p:nvPr/>
        </p:nvCxnSpPr>
        <p:spPr bwMode="auto">
          <a:xfrm rot="16200000" flipV="1">
            <a:off x="4300670" y="3326179"/>
            <a:ext cx="861961" cy="1325285"/>
          </a:xfrm>
          <a:prstGeom prst="bentConnector2">
            <a:avLst/>
          </a:prstGeom>
          <a:noFill/>
          <a:ln w="12700" cap="flat" cmpd="sng" algn="ctr">
            <a:solidFill>
              <a:srgbClr val="C00000">
                <a:alpha val="70000"/>
              </a:srgbClr>
            </a:solidFill>
            <a:prstDash val="solid"/>
            <a:round/>
            <a:headEnd type="triangle" w="med" len="lg"/>
            <a:tailEnd type="triangle" w="med" len="lg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9" name="Gewinkelter Verbinder 169">
            <a:extLst>
              <a:ext uri="{FF2B5EF4-FFF2-40B4-BE49-F238E27FC236}">
                <a16:creationId xmlns:a16="http://schemas.microsoft.com/office/drawing/2014/main" id="{618058E1-EF15-44A3-BECB-9FFEC567CD68}"/>
              </a:ext>
            </a:extLst>
          </p:cNvPr>
          <p:cNvCxnSpPr>
            <a:stCxn id="75" idx="3"/>
            <a:endCxn id="80" idx="0"/>
          </p:cNvCxnSpPr>
          <p:nvPr/>
        </p:nvCxnSpPr>
        <p:spPr bwMode="auto">
          <a:xfrm rot="10800000" flipV="1">
            <a:off x="4356514" y="5053427"/>
            <a:ext cx="1037780" cy="619406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000000">
                <a:alpha val="70000"/>
              </a:srgbClr>
            </a:solidFill>
            <a:prstDash val="solid"/>
            <a:round/>
            <a:headEnd type="triangle" w="med" len="lg"/>
            <a:tailEnd type="triangle" w="med" len="lg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0" name="Gewinkelter Verbinder 150">
            <a:extLst>
              <a:ext uri="{FF2B5EF4-FFF2-40B4-BE49-F238E27FC236}">
                <a16:creationId xmlns:a16="http://schemas.microsoft.com/office/drawing/2014/main" id="{BAAC5011-F1F8-4387-B2D5-15F8CFB8D70A}"/>
              </a:ext>
            </a:extLst>
          </p:cNvPr>
          <p:cNvCxnSpPr>
            <a:cxnSpLocks/>
          </p:cNvCxnSpPr>
          <p:nvPr/>
        </p:nvCxnSpPr>
        <p:spPr bwMode="auto">
          <a:xfrm rot="5400000" flipH="1" flipV="1">
            <a:off x="6203650" y="3224566"/>
            <a:ext cx="1415009" cy="1023214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C00000">
                <a:alpha val="70000"/>
              </a:srgbClr>
            </a:solidFill>
            <a:prstDash val="solid"/>
            <a:round/>
            <a:headEnd type="triangle" w="med" len="lg"/>
            <a:tailEnd type="triangle" w="med" len="lg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1" name="Gewinkelter Verbinder 186">
            <a:extLst>
              <a:ext uri="{FF2B5EF4-FFF2-40B4-BE49-F238E27FC236}">
                <a16:creationId xmlns:a16="http://schemas.microsoft.com/office/drawing/2014/main" id="{D2BA0157-CA97-431B-81DC-8D2CFFF00F12}"/>
              </a:ext>
            </a:extLst>
          </p:cNvPr>
          <p:cNvCxnSpPr>
            <a:cxnSpLocks/>
          </p:cNvCxnSpPr>
          <p:nvPr/>
        </p:nvCxnSpPr>
        <p:spPr bwMode="auto">
          <a:xfrm rot="16200000" flipV="1">
            <a:off x="4986264" y="3264678"/>
            <a:ext cx="2106659" cy="203156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000000">
                <a:alpha val="70000"/>
              </a:srgbClr>
            </a:solidFill>
            <a:prstDash val="solid"/>
            <a:round/>
            <a:headEnd type="triangle" w="med" len="lg"/>
            <a:tailEnd type="triangle" w="med" len="lg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2" name="Sechseck 91">
            <a:extLst>
              <a:ext uri="{FF2B5EF4-FFF2-40B4-BE49-F238E27FC236}">
                <a16:creationId xmlns:a16="http://schemas.microsoft.com/office/drawing/2014/main" id="{FD59D7FB-0FCF-47D0-A463-7A8BD642C038}"/>
              </a:ext>
            </a:extLst>
          </p:cNvPr>
          <p:cNvSpPr/>
          <p:nvPr/>
        </p:nvSpPr>
        <p:spPr>
          <a:xfrm>
            <a:off x="6746239" y="2656594"/>
            <a:ext cx="1353047" cy="395948"/>
          </a:xfrm>
          <a:prstGeom prst="hexagon">
            <a:avLst>
              <a:gd name="adj" fmla="val 0"/>
              <a:gd name="vf" fmla="val 115470"/>
            </a:avLst>
          </a:prstGeom>
          <a:solidFill>
            <a:srgbClr val="FFFE99"/>
          </a:solidFill>
          <a:ln w="12700">
            <a:solidFill>
              <a:srgbClr val="ECEA83">
                <a:alpha val="70000"/>
              </a:srgbClr>
            </a:solidFill>
          </a:ln>
        </p:spPr>
        <p:txBody>
          <a:bodyPr wrap="square" lIns="0" rIns="0" rtlCol="0" anchor="ctr">
            <a:noAutofit/>
          </a:bodyPr>
          <a:lstStyle/>
          <a:p>
            <a:pPr algn="ctr"/>
            <a:r>
              <a:rPr lang="de-DE" sz="1400" err="1">
                <a:solidFill>
                  <a:srgbClr val="000000"/>
                </a:solidFill>
                <a:latin typeface="Arial" panose="020B0604020202020204"/>
              </a:rPr>
              <a:t>Pedestrians</a:t>
            </a:r>
            <a:endParaRPr lang="de-DE" sz="1400">
              <a:solidFill>
                <a:srgbClr val="000000"/>
              </a:solidFill>
              <a:latin typeface="Arial" panose="020B0604020202020204"/>
            </a:endParaRPr>
          </a:p>
        </p:txBody>
      </p:sp>
      <p:grpSp>
        <p:nvGrpSpPr>
          <p:cNvPr id="93" name="Gruppieren 92">
            <a:extLst>
              <a:ext uri="{FF2B5EF4-FFF2-40B4-BE49-F238E27FC236}">
                <a16:creationId xmlns:a16="http://schemas.microsoft.com/office/drawing/2014/main" id="{7C9502BE-59CF-4AC8-9998-9539710F502F}"/>
              </a:ext>
            </a:extLst>
          </p:cNvPr>
          <p:cNvGrpSpPr/>
          <p:nvPr/>
        </p:nvGrpSpPr>
        <p:grpSpPr>
          <a:xfrm>
            <a:off x="4710793" y="3037374"/>
            <a:ext cx="503876" cy="450895"/>
            <a:chOff x="7149548" y="1494508"/>
            <a:chExt cx="503942" cy="450954"/>
          </a:xfrm>
        </p:grpSpPr>
        <p:sp>
          <p:nvSpPr>
            <p:cNvPr id="94" name="Freeform 8">
              <a:extLst>
                <a:ext uri="{FF2B5EF4-FFF2-40B4-BE49-F238E27FC236}">
                  <a16:creationId xmlns:a16="http://schemas.microsoft.com/office/drawing/2014/main" id="{62168AFA-C256-47E6-AA8E-4870C5D11D26}"/>
                </a:ext>
              </a:extLst>
            </p:cNvPr>
            <p:cNvSpPr>
              <a:spLocks/>
            </p:cNvSpPr>
            <p:nvPr/>
          </p:nvSpPr>
          <p:spPr bwMode="auto">
            <a:xfrm>
              <a:off x="7168714" y="1510291"/>
              <a:ext cx="468993" cy="410368"/>
            </a:xfrm>
            <a:custGeom>
              <a:avLst/>
              <a:gdLst>
                <a:gd name="T0" fmla="*/ 18 w 155"/>
                <a:gd name="T1" fmla="*/ 134 h 134"/>
                <a:gd name="T2" fmla="*/ 6 w 155"/>
                <a:gd name="T3" fmla="*/ 115 h 134"/>
                <a:gd name="T4" fmla="*/ 66 w 155"/>
                <a:gd name="T5" fmla="*/ 11 h 134"/>
                <a:gd name="T6" fmla="*/ 89 w 155"/>
                <a:gd name="T7" fmla="*/ 11 h 134"/>
                <a:gd name="T8" fmla="*/ 149 w 155"/>
                <a:gd name="T9" fmla="*/ 115 h 134"/>
                <a:gd name="T10" fmla="*/ 137 w 155"/>
                <a:gd name="T11" fmla="*/ 134 h 134"/>
                <a:gd name="T12" fmla="*/ 18 w 155"/>
                <a:gd name="T13" fmla="*/ 134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5" h="134">
                  <a:moveTo>
                    <a:pt x="18" y="134"/>
                  </a:moveTo>
                  <a:cubicBezTo>
                    <a:pt x="5" y="134"/>
                    <a:pt x="0" y="125"/>
                    <a:pt x="6" y="115"/>
                  </a:cubicBezTo>
                  <a:cubicBezTo>
                    <a:pt x="66" y="11"/>
                    <a:pt x="66" y="11"/>
                    <a:pt x="66" y="11"/>
                  </a:cubicBezTo>
                  <a:cubicBezTo>
                    <a:pt x="72" y="0"/>
                    <a:pt x="83" y="0"/>
                    <a:pt x="89" y="11"/>
                  </a:cubicBezTo>
                  <a:cubicBezTo>
                    <a:pt x="149" y="115"/>
                    <a:pt x="149" y="115"/>
                    <a:pt x="149" y="115"/>
                  </a:cubicBezTo>
                  <a:cubicBezTo>
                    <a:pt x="155" y="125"/>
                    <a:pt x="150" y="134"/>
                    <a:pt x="137" y="134"/>
                  </a:cubicBezTo>
                  <a:lnTo>
                    <a:pt x="18" y="13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5" name="Freeform 9">
              <a:extLst>
                <a:ext uri="{FF2B5EF4-FFF2-40B4-BE49-F238E27FC236}">
                  <a16:creationId xmlns:a16="http://schemas.microsoft.com/office/drawing/2014/main" id="{3270693E-E6D0-44AB-AEF5-89C11C6DA25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49548" y="1494508"/>
              <a:ext cx="503942" cy="450954"/>
            </a:xfrm>
            <a:custGeom>
              <a:avLst/>
              <a:gdLst>
                <a:gd name="T0" fmla="*/ 143 w 166"/>
                <a:gd name="T1" fmla="*/ 147 h 147"/>
                <a:gd name="T2" fmla="*/ 24 w 166"/>
                <a:gd name="T3" fmla="*/ 147 h 147"/>
                <a:gd name="T4" fmla="*/ 4 w 166"/>
                <a:gd name="T5" fmla="*/ 137 h 147"/>
                <a:gd name="T6" fmla="*/ 5 w 166"/>
                <a:gd name="T7" fmla="*/ 116 h 147"/>
                <a:gd name="T8" fmla="*/ 65 w 166"/>
                <a:gd name="T9" fmla="*/ 12 h 147"/>
                <a:gd name="T10" fmla="*/ 83 w 166"/>
                <a:gd name="T11" fmla="*/ 0 h 147"/>
                <a:gd name="T12" fmla="*/ 102 w 166"/>
                <a:gd name="T13" fmla="*/ 12 h 147"/>
                <a:gd name="T14" fmla="*/ 162 w 166"/>
                <a:gd name="T15" fmla="*/ 116 h 147"/>
                <a:gd name="T16" fmla="*/ 163 w 166"/>
                <a:gd name="T17" fmla="*/ 137 h 147"/>
                <a:gd name="T18" fmla="*/ 143 w 166"/>
                <a:gd name="T19" fmla="*/ 147 h 147"/>
                <a:gd name="T20" fmla="*/ 83 w 166"/>
                <a:gd name="T21" fmla="*/ 16 h 147"/>
                <a:gd name="T22" fmla="*/ 79 w 166"/>
                <a:gd name="T23" fmla="*/ 20 h 147"/>
                <a:gd name="T24" fmla="*/ 19 w 166"/>
                <a:gd name="T25" fmla="*/ 124 h 147"/>
                <a:gd name="T26" fmla="*/ 18 w 166"/>
                <a:gd name="T27" fmla="*/ 129 h 147"/>
                <a:gd name="T28" fmla="*/ 24 w 166"/>
                <a:gd name="T29" fmla="*/ 131 h 147"/>
                <a:gd name="T30" fmla="*/ 143 w 166"/>
                <a:gd name="T31" fmla="*/ 131 h 147"/>
                <a:gd name="T32" fmla="*/ 149 w 166"/>
                <a:gd name="T33" fmla="*/ 129 h 147"/>
                <a:gd name="T34" fmla="*/ 148 w 166"/>
                <a:gd name="T35" fmla="*/ 124 h 147"/>
                <a:gd name="T36" fmla="*/ 88 w 166"/>
                <a:gd name="T37" fmla="*/ 20 h 147"/>
                <a:gd name="T38" fmla="*/ 83 w 166"/>
                <a:gd name="T39" fmla="*/ 16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66" h="147">
                  <a:moveTo>
                    <a:pt x="143" y="147"/>
                  </a:moveTo>
                  <a:cubicBezTo>
                    <a:pt x="24" y="147"/>
                    <a:pt x="24" y="147"/>
                    <a:pt x="24" y="147"/>
                  </a:cubicBezTo>
                  <a:cubicBezTo>
                    <a:pt x="15" y="147"/>
                    <a:pt x="8" y="144"/>
                    <a:pt x="4" y="137"/>
                  </a:cubicBezTo>
                  <a:cubicBezTo>
                    <a:pt x="0" y="131"/>
                    <a:pt x="1" y="123"/>
                    <a:pt x="5" y="116"/>
                  </a:cubicBezTo>
                  <a:cubicBezTo>
                    <a:pt x="65" y="12"/>
                    <a:pt x="65" y="12"/>
                    <a:pt x="65" y="12"/>
                  </a:cubicBezTo>
                  <a:cubicBezTo>
                    <a:pt x="70" y="4"/>
                    <a:pt x="76" y="0"/>
                    <a:pt x="83" y="0"/>
                  </a:cubicBezTo>
                  <a:cubicBezTo>
                    <a:pt x="91" y="0"/>
                    <a:pt x="97" y="4"/>
                    <a:pt x="102" y="12"/>
                  </a:cubicBezTo>
                  <a:cubicBezTo>
                    <a:pt x="162" y="116"/>
                    <a:pt x="162" y="116"/>
                    <a:pt x="162" y="116"/>
                  </a:cubicBezTo>
                  <a:cubicBezTo>
                    <a:pt x="166" y="123"/>
                    <a:pt x="166" y="131"/>
                    <a:pt x="163" y="137"/>
                  </a:cubicBezTo>
                  <a:cubicBezTo>
                    <a:pt x="159" y="144"/>
                    <a:pt x="152" y="147"/>
                    <a:pt x="143" y="147"/>
                  </a:cubicBezTo>
                  <a:close/>
                  <a:moveTo>
                    <a:pt x="83" y="16"/>
                  </a:moveTo>
                  <a:cubicBezTo>
                    <a:pt x="82" y="16"/>
                    <a:pt x="81" y="17"/>
                    <a:pt x="79" y="20"/>
                  </a:cubicBezTo>
                  <a:cubicBezTo>
                    <a:pt x="19" y="124"/>
                    <a:pt x="19" y="124"/>
                    <a:pt x="19" y="124"/>
                  </a:cubicBezTo>
                  <a:cubicBezTo>
                    <a:pt x="18" y="126"/>
                    <a:pt x="17" y="129"/>
                    <a:pt x="18" y="129"/>
                  </a:cubicBezTo>
                  <a:cubicBezTo>
                    <a:pt x="18" y="130"/>
                    <a:pt x="20" y="131"/>
                    <a:pt x="24" y="131"/>
                  </a:cubicBezTo>
                  <a:cubicBezTo>
                    <a:pt x="143" y="131"/>
                    <a:pt x="143" y="131"/>
                    <a:pt x="143" y="131"/>
                  </a:cubicBezTo>
                  <a:cubicBezTo>
                    <a:pt x="147" y="131"/>
                    <a:pt x="148" y="130"/>
                    <a:pt x="149" y="129"/>
                  </a:cubicBezTo>
                  <a:cubicBezTo>
                    <a:pt x="150" y="129"/>
                    <a:pt x="149" y="126"/>
                    <a:pt x="148" y="124"/>
                  </a:cubicBezTo>
                  <a:cubicBezTo>
                    <a:pt x="88" y="20"/>
                    <a:pt x="88" y="20"/>
                    <a:pt x="88" y="20"/>
                  </a:cubicBezTo>
                  <a:cubicBezTo>
                    <a:pt x="86" y="17"/>
                    <a:pt x="84" y="16"/>
                    <a:pt x="83" y="16"/>
                  </a:cubicBez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6" name="Freeform 10">
              <a:extLst>
                <a:ext uri="{FF2B5EF4-FFF2-40B4-BE49-F238E27FC236}">
                  <a16:creationId xmlns:a16="http://schemas.microsoft.com/office/drawing/2014/main" id="{B856F1FA-AE88-41B2-AA63-B39F719764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80662" y="1638813"/>
              <a:ext cx="45095" cy="226605"/>
            </a:xfrm>
            <a:custGeom>
              <a:avLst/>
              <a:gdLst>
                <a:gd name="T0" fmla="*/ 8 w 40"/>
                <a:gd name="T1" fmla="*/ 150 h 201"/>
                <a:gd name="T2" fmla="*/ 0 w 40"/>
                <a:gd name="T3" fmla="*/ 46 h 201"/>
                <a:gd name="T4" fmla="*/ 0 w 40"/>
                <a:gd name="T5" fmla="*/ 0 h 201"/>
                <a:gd name="T6" fmla="*/ 40 w 40"/>
                <a:gd name="T7" fmla="*/ 0 h 201"/>
                <a:gd name="T8" fmla="*/ 40 w 40"/>
                <a:gd name="T9" fmla="*/ 46 h 201"/>
                <a:gd name="T10" fmla="*/ 29 w 40"/>
                <a:gd name="T11" fmla="*/ 150 h 201"/>
                <a:gd name="T12" fmla="*/ 8 w 40"/>
                <a:gd name="T13" fmla="*/ 150 h 201"/>
                <a:gd name="T14" fmla="*/ 0 w 40"/>
                <a:gd name="T15" fmla="*/ 201 h 201"/>
                <a:gd name="T16" fmla="*/ 0 w 40"/>
                <a:gd name="T17" fmla="*/ 161 h 201"/>
                <a:gd name="T18" fmla="*/ 40 w 40"/>
                <a:gd name="T19" fmla="*/ 161 h 201"/>
                <a:gd name="T20" fmla="*/ 40 w 40"/>
                <a:gd name="T21" fmla="*/ 201 h 201"/>
                <a:gd name="T22" fmla="*/ 0 w 40"/>
                <a:gd name="T23" fmla="*/ 201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0" h="201">
                  <a:moveTo>
                    <a:pt x="8" y="150"/>
                  </a:moveTo>
                  <a:lnTo>
                    <a:pt x="0" y="46"/>
                  </a:lnTo>
                  <a:lnTo>
                    <a:pt x="0" y="0"/>
                  </a:lnTo>
                  <a:lnTo>
                    <a:pt x="40" y="0"/>
                  </a:lnTo>
                  <a:lnTo>
                    <a:pt x="40" y="46"/>
                  </a:lnTo>
                  <a:lnTo>
                    <a:pt x="29" y="150"/>
                  </a:lnTo>
                  <a:lnTo>
                    <a:pt x="8" y="150"/>
                  </a:lnTo>
                  <a:close/>
                  <a:moveTo>
                    <a:pt x="0" y="201"/>
                  </a:moveTo>
                  <a:lnTo>
                    <a:pt x="0" y="161"/>
                  </a:lnTo>
                  <a:lnTo>
                    <a:pt x="40" y="161"/>
                  </a:lnTo>
                  <a:lnTo>
                    <a:pt x="40" y="201"/>
                  </a:lnTo>
                  <a:lnTo>
                    <a:pt x="0" y="201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97" name="Gruppieren 96">
            <a:extLst>
              <a:ext uri="{FF2B5EF4-FFF2-40B4-BE49-F238E27FC236}">
                <a16:creationId xmlns:a16="http://schemas.microsoft.com/office/drawing/2014/main" id="{168CB77E-942D-44F1-9AFF-458FCB29905A}"/>
              </a:ext>
            </a:extLst>
          </p:cNvPr>
          <p:cNvGrpSpPr/>
          <p:nvPr/>
        </p:nvGrpSpPr>
        <p:grpSpPr>
          <a:xfrm>
            <a:off x="7619566" y="5137683"/>
            <a:ext cx="503876" cy="450895"/>
            <a:chOff x="7149548" y="1494508"/>
            <a:chExt cx="503942" cy="450954"/>
          </a:xfrm>
        </p:grpSpPr>
        <p:sp>
          <p:nvSpPr>
            <p:cNvPr id="98" name="Freeform 8">
              <a:extLst>
                <a:ext uri="{FF2B5EF4-FFF2-40B4-BE49-F238E27FC236}">
                  <a16:creationId xmlns:a16="http://schemas.microsoft.com/office/drawing/2014/main" id="{CE7ED9B7-5EE8-455A-AF0F-95599E6BC6AB}"/>
                </a:ext>
              </a:extLst>
            </p:cNvPr>
            <p:cNvSpPr>
              <a:spLocks/>
            </p:cNvSpPr>
            <p:nvPr/>
          </p:nvSpPr>
          <p:spPr bwMode="auto">
            <a:xfrm>
              <a:off x="7168714" y="1510291"/>
              <a:ext cx="468993" cy="410368"/>
            </a:xfrm>
            <a:custGeom>
              <a:avLst/>
              <a:gdLst>
                <a:gd name="T0" fmla="*/ 18 w 155"/>
                <a:gd name="T1" fmla="*/ 134 h 134"/>
                <a:gd name="T2" fmla="*/ 6 w 155"/>
                <a:gd name="T3" fmla="*/ 115 h 134"/>
                <a:gd name="T4" fmla="*/ 66 w 155"/>
                <a:gd name="T5" fmla="*/ 11 h 134"/>
                <a:gd name="T6" fmla="*/ 89 w 155"/>
                <a:gd name="T7" fmla="*/ 11 h 134"/>
                <a:gd name="T8" fmla="*/ 149 w 155"/>
                <a:gd name="T9" fmla="*/ 115 h 134"/>
                <a:gd name="T10" fmla="*/ 137 w 155"/>
                <a:gd name="T11" fmla="*/ 134 h 134"/>
                <a:gd name="T12" fmla="*/ 18 w 155"/>
                <a:gd name="T13" fmla="*/ 134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5" h="134">
                  <a:moveTo>
                    <a:pt x="18" y="134"/>
                  </a:moveTo>
                  <a:cubicBezTo>
                    <a:pt x="5" y="134"/>
                    <a:pt x="0" y="125"/>
                    <a:pt x="6" y="115"/>
                  </a:cubicBezTo>
                  <a:cubicBezTo>
                    <a:pt x="66" y="11"/>
                    <a:pt x="66" y="11"/>
                    <a:pt x="66" y="11"/>
                  </a:cubicBezTo>
                  <a:cubicBezTo>
                    <a:pt x="72" y="0"/>
                    <a:pt x="83" y="0"/>
                    <a:pt x="89" y="11"/>
                  </a:cubicBezTo>
                  <a:cubicBezTo>
                    <a:pt x="149" y="115"/>
                    <a:pt x="149" y="115"/>
                    <a:pt x="149" y="115"/>
                  </a:cubicBezTo>
                  <a:cubicBezTo>
                    <a:pt x="155" y="125"/>
                    <a:pt x="150" y="134"/>
                    <a:pt x="137" y="134"/>
                  </a:cubicBezTo>
                  <a:lnTo>
                    <a:pt x="18" y="13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1" name="Freeform 9">
              <a:extLst>
                <a:ext uri="{FF2B5EF4-FFF2-40B4-BE49-F238E27FC236}">
                  <a16:creationId xmlns:a16="http://schemas.microsoft.com/office/drawing/2014/main" id="{D6077F35-0141-44E1-8DE5-FE8AECD642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49548" y="1494508"/>
              <a:ext cx="503942" cy="450954"/>
            </a:xfrm>
            <a:custGeom>
              <a:avLst/>
              <a:gdLst>
                <a:gd name="T0" fmla="*/ 143 w 166"/>
                <a:gd name="T1" fmla="*/ 147 h 147"/>
                <a:gd name="T2" fmla="*/ 24 w 166"/>
                <a:gd name="T3" fmla="*/ 147 h 147"/>
                <a:gd name="T4" fmla="*/ 4 w 166"/>
                <a:gd name="T5" fmla="*/ 137 h 147"/>
                <a:gd name="T6" fmla="*/ 5 w 166"/>
                <a:gd name="T7" fmla="*/ 116 h 147"/>
                <a:gd name="T8" fmla="*/ 65 w 166"/>
                <a:gd name="T9" fmla="*/ 12 h 147"/>
                <a:gd name="T10" fmla="*/ 83 w 166"/>
                <a:gd name="T11" fmla="*/ 0 h 147"/>
                <a:gd name="T12" fmla="*/ 102 w 166"/>
                <a:gd name="T13" fmla="*/ 12 h 147"/>
                <a:gd name="T14" fmla="*/ 162 w 166"/>
                <a:gd name="T15" fmla="*/ 116 h 147"/>
                <a:gd name="T16" fmla="*/ 163 w 166"/>
                <a:gd name="T17" fmla="*/ 137 h 147"/>
                <a:gd name="T18" fmla="*/ 143 w 166"/>
                <a:gd name="T19" fmla="*/ 147 h 147"/>
                <a:gd name="T20" fmla="*/ 83 w 166"/>
                <a:gd name="T21" fmla="*/ 16 h 147"/>
                <a:gd name="T22" fmla="*/ 79 w 166"/>
                <a:gd name="T23" fmla="*/ 20 h 147"/>
                <a:gd name="T24" fmla="*/ 19 w 166"/>
                <a:gd name="T25" fmla="*/ 124 h 147"/>
                <a:gd name="T26" fmla="*/ 18 w 166"/>
                <a:gd name="T27" fmla="*/ 129 h 147"/>
                <a:gd name="T28" fmla="*/ 24 w 166"/>
                <a:gd name="T29" fmla="*/ 131 h 147"/>
                <a:gd name="T30" fmla="*/ 143 w 166"/>
                <a:gd name="T31" fmla="*/ 131 h 147"/>
                <a:gd name="T32" fmla="*/ 149 w 166"/>
                <a:gd name="T33" fmla="*/ 129 h 147"/>
                <a:gd name="T34" fmla="*/ 148 w 166"/>
                <a:gd name="T35" fmla="*/ 124 h 147"/>
                <a:gd name="T36" fmla="*/ 88 w 166"/>
                <a:gd name="T37" fmla="*/ 20 h 147"/>
                <a:gd name="T38" fmla="*/ 83 w 166"/>
                <a:gd name="T39" fmla="*/ 16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66" h="147">
                  <a:moveTo>
                    <a:pt x="143" y="147"/>
                  </a:moveTo>
                  <a:cubicBezTo>
                    <a:pt x="24" y="147"/>
                    <a:pt x="24" y="147"/>
                    <a:pt x="24" y="147"/>
                  </a:cubicBezTo>
                  <a:cubicBezTo>
                    <a:pt x="15" y="147"/>
                    <a:pt x="8" y="144"/>
                    <a:pt x="4" y="137"/>
                  </a:cubicBezTo>
                  <a:cubicBezTo>
                    <a:pt x="0" y="131"/>
                    <a:pt x="1" y="123"/>
                    <a:pt x="5" y="116"/>
                  </a:cubicBezTo>
                  <a:cubicBezTo>
                    <a:pt x="65" y="12"/>
                    <a:pt x="65" y="12"/>
                    <a:pt x="65" y="12"/>
                  </a:cubicBezTo>
                  <a:cubicBezTo>
                    <a:pt x="70" y="4"/>
                    <a:pt x="76" y="0"/>
                    <a:pt x="83" y="0"/>
                  </a:cubicBezTo>
                  <a:cubicBezTo>
                    <a:pt x="91" y="0"/>
                    <a:pt x="97" y="4"/>
                    <a:pt x="102" y="12"/>
                  </a:cubicBezTo>
                  <a:cubicBezTo>
                    <a:pt x="162" y="116"/>
                    <a:pt x="162" y="116"/>
                    <a:pt x="162" y="116"/>
                  </a:cubicBezTo>
                  <a:cubicBezTo>
                    <a:pt x="166" y="123"/>
                    <a:pt x="166" y="131"/>
                    <a:pt x="163" y="137"/>
                  </a:cubicBezTo>
                  <a:cubicBezTo>
                    <a:pt x="159" y="144"/>
                    <a:pt x="152" y="147"/>
                    <a:pt x="143" y="147"/>
                  </a:cubicBezTo>
                  <a:close/>
                  <a:moveTo>
                    <a:pt x="83" y="16"/>
                  </a:moveTo>
                  <a:cubicBezTo>
                    <a:pt x="82" y="16"/>
                    <a:pt x="81" y="17"/>
                    <a:pt x="79" y="20"/>
                  </a:cubicBezTo>
                  <a:cubicBezTo>
                    <a:pt x="19" y="124"/>
                    <a:pt x="19" y="124"/>
                    <a:pt x="19" y="124"/>
                  </a:cubicBezTo>
                  <a:cubicBezTo>
                    <a:pt x="18" y="126"/>
                    <a:pt x="17" y="129"/>
                    <a:pt x="18" y="129"/>
                  </a:cubicBezTo>
                  <a:cubicBezTo>
                    <a:pt x="18" y="130"/>
                    <a:pt x="20" y="131"/>
                    <a:pt x="24" y="131"/>
                  </a:cubicBezTo>
                  <a:cubicBezTo>
                    <a:pt x="143" y="131"/>
                    <a:pt x="143" y="131"/>
                    <a:pt x="143" y="131"/>
                  </a:cubicBezTo>
                  <a:cubicBezTo>
                    <a:pt x="147" y="131"/>
                    <a:pt x="148" y="130"/>
                    <a:pt x="149" y="129"/>
                  </a:cubicBezTo>
                  <a:cubicBezTo>
                    <a:pt x="150" y="129"/>
                    <a:pt x="149" y="126"/>
                    <a:pt x="148" y="124"/>
                  </a:cubicBezTo>
                  <a:cubicBezTo>
                    <a:pt x="88" y="20"/>
                    <a:pt x="88" y="20"/>
                    <a:pt x="88" y="20"/>
                  </a:cubicBezTo>
                  <a:cubicBezTo>
                    <a:pt x="86" y="17"/>
                    <a:pt x="84" y="16"/>
                    <a:pt x="83" y="16"/>
                  </a:cubicBez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2" name="Freeform 10">
              <a:extLst>
                <a:ext uri="{FF2B5EF4-FFF2-40B4-BE49-F238E27FC236}">
                  <a16:creationId xmlns:a16="http://schemas.microsoft.com/office/drawing/2014/main" id="{8BAA80C8-7BC0-4B43-B9B8-067A159998A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80662" y="1638813"/>
              <a:ext cx="45095" cy="226605"/>
            </a:xfrm>
            <a:custGeom>
              <a:avLst/>
              <a:gdLst>
                <a:gd name="T0" fmla="*/ 8 w 40"/>
                <a:gd name="T1" fmla="*/ 150 h 201"/>
                <a:gd name="T2" fmla="*/ 0 w 40"/>
                <a:gd name="T3" fmla="*/ 46 h 201"/>
                <a:gd name="T4" fmla="*/ 0 w 40"/>
                <a:gd name="T5" fmla="*/ 0 h 201"/>
                <a:gd name="T6" fmla="*/ 40 w 40"/>
                <a:gd name="T7" fmla="*/ 0 h 201"/>
                <a:gd name="T8" fmla="*/ 40 w 40"/>
                <a:gd name="T9" fmla="*/ 46 h 201"/>
                <a:gd name="T10" fmla="*/ 29 w 40"/>
                <a:gd name="T11" fmla="*/ 150 h 201"/>
                <a:gd name="T12" fmla="*/ 8 w 40"/>
                <a:gd name="T13" fmla="*/ 150 h 201"/>
                <a:gd name="T14" fmla="*/ 0 w 40"/>
                <a:gd name="T15" fmla="*/ 201 h 201"/>
                <a:gd name="T16" fmla="*/ 0 w 40"/>
                <a:gd name="T17" fmla="*/ 161 h 201"/>
                <a:gd name="T18" fmla="*/ 40 w 40"/>
                <a:gd name="T19" fmla="*/ 161 h 201"/>
                <a:gd name="T20" fmla="*/ 40 w 40"/>
                <a:gd name="T21" fmla="*/ 201 h 201"/>
                <a:gd name="T22" fmla="*/ 0 w 40"/>
                <a:gd name="T23" fmla="*/ 201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0" h="201">
                  <a:moveTo>
                    <a:pt x="8" y="150"/>
                  </a:moveTo>
                  <a:lnTo>
                    <a:pt x="0" y="46"/>
                  </a:lnTo>
                  <a:lnTo>
                    <a:pt x="0" y="0"/>
                  </a:lnTo>
                  <a:lnTo>
                    <a:pt x="40" y="0"/>
                  </a:lnTo>
                  <a:lnTo>
                    <a:pt x="40" y="46"/>
                  </a:lnTo>
                  <a:lnTo>
                    <a:pt x="29" y="150"/>
                  </a:lnTo>
                  <a:lnTo>
                    <a:pt x="8" y="150"/>
                  </a:lnTo>
                  <a:close/>
                  <a:moveTo>
                    <a:pt x="0" y="201"/>
                  </a:moveTo>
                  <a:lnTo>
                    <a:pt x="0" y="161"/>
                  </a:lnTo>
                  <a:lnTo>
                    <a:pt x="40" y="161"/>
                  </a:lnTo>
                  <a:lnTo>
                    <a:pt x="40" y="201"/>
                  </a:lnTo>
                  <a:lnTo>
                    <a:pt x="0" y="201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123" name="Ellipse 122">
            <a:extLst>
              <a:ext uri="{FF2B5EF4-FFF2-40B4-BE49-F238E27FC236}">
                <a16:creationId xmlns:a16="http://schemas.microsoft.com/office/drawing/2014/main" id="{26AAA282-20DD-4A89-8AA7-CA72C9E3918C}"/>
              </a:ext>
            </a:extLst>
          </p:cNvPr>
          <p:cNvSpPr/>
          <p:nvPr/>
        </p:nvSpPr>
        <p:spPr>
          <a:xfrm>
            <a:off x="3515783" y="2379498"/>
            <a:ext cx="1698887" cy="638872"/>
          </a:xfrm>
          <a:prstGeom prst="ellipse">
            <a:avLst/>
          </a:prstGeom>
          <a:solidFill>
            <a:srgbClr val="FFFFFF"/>
          </a:solidFill>
          <a:ln w="12700">
            <a:solidFill>
              <a:srgbClr val="C00000"/>
            </a:solidFill>
          </a:ln>
        </p:spPr>
        <p:txBody>
          <a:bodyPr wrap="square" lIns="0" rIns="0" rtlCol="0" anchor="ctr">
            <a:noAutofit/>
          </a:bodyPr>
          <a:lstStyle/>
          <a:p>
            <a:pPr algn="ctr" defTabSz="914309">
              <a:defRPr/>
            </a:pPr>
            <a:r>
              <a:rPr lang="de-DE" sz="1400" kern="0">
                <a:solidFill>
                  <a:srgbClr val="000000"/>
                </a:solidFill>
                <a:latin typeface="Arial" panose="020B0604020202020204"/>
              </a:rPr>
              <a:t>Emergency </a:t>
            </a:r>
            <a:r>
              <a:rPr lang="de-DE" sz="1400" kern="0" err="1">
                <a:solidFill>
                  <a:srgbClr val="000000"/>
                </a:solidFill>
                <a:latin typeface="Arial" panose="020B0604020202020204"/>
              </a:rPr>
              <a:t>communication</a:t>
            </a:r>
            <a:endParaRPr lang="de-DE" sz="1400" kern="0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124" name="Ellipse 123">
            <a:extLst>
              <a:ext uri="{FF2B5EF4-FFF2-40B4-BE49-F238E27FC236}">
                <a16:creationId xmlns:a16="http://schemas.microsoft.com/office/drawing/2014/main" id="{26AAA282-20DD-4A89-8AA7-CA72C9E3918C}"/>
              </a:ext>
            </a:extLst>
          </p:cNvPr>
          <p:cNvSpPr/>
          <p:nvPr/>
        </p:nvSpPr>
        <p:spPr>
          <a:xfrm>
            <a:off x="7364813" y="5687054"/>
            <a:ext cx="1221160" cy="638872"/>
          </a:xfrm>
          <a:prstGeom prst="ellipse">
            <a:avLst/>
          </a:prstGeom>
          <a:solidFill>
            <a:srgbClr val="FFFFFF"/>
          </a:solidFill>
          <a:ln w="12700">
            <a:solidFill>
              <a:srgbClr val="C00000"/>
            </a:solidFill>
          </a:ln>
        </p:spPr>
        <p:txBody>
          <a:bodyPr wrap="square" lIns="0" rIns="0" rtlCol="0" anchor="ctr">
            <a:noAutofit/>
          </a:bodyPr>
          <a:lstStyle/>
          <a:p>
            <a:pPr algn="ctr" defTabSz="914309">
              <a:defRPr/>
            </a:pPr>
            <a:r>
              <a:rPr lang="de-DE" sz="1400" kern="0">
                <a:solidFill>
                  <a:srgbClr val="000000"/>
                </a:solidFill>
                <a:latin typeface="Arial" panose="020B0604020202020204"/>
              </a:rPr>
              <a:t>Slip </a:t>
            </a:r>
            <a:r>
              <a:rPr lang="de-DE" sz="1400" kern="0" err="1">
                <a:solidFill>
                  <a:srgbClr val="000000"/>
                </a:solidFill>
                <a:latin typeface="Arial" panose="020B0604020202020204"/>
              </a:rPr>
              <a:t>regulation</a:t>
            </a:r>
            <a:endParaRPr lang="de-DE" sz="1400" kern="0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125" name="Ellipse 124">
            <a:extLst>
              <a:ext uri="{FF2B5EF4-FFF2-40B4-BE49-F238E27FC236}">
                <a16:creationId xmlns:a16="http://schemas.microsoft.com/office/drawing/2014/main" id="{26AAA282-20DD-4A89-8AA7-CA72C9E3918C}"/>
              </a:ext>
            </a:extLst>
          </p:cNvPr>
          <p:cNvSpPr/>
          <p:nvPr/>
        </p:nvSpPr>
        <p:spPr>
          <a:xfrm>
            <a:off x="7280301" y="3804804"/>
            <a:ext cx="1221160" cy="638872"/>
          </a:xfrm>
          <a:prstGeom prst="ellipse">
            <a:avLst/>
          </a:prstGeom>
          <a:solidFill>
            <a:srgbClr val="FFFFFF"/>
          </a:solidFill>
          <a:ln w="12700">
            <a:solidFill>
              <a:srgbClr val="C00000"/>
            </a:solidFill>
          </a:ln>
        </p:spPr>
        <p:txBody>
          <a:bodyPr wrap="square" lIns="0" rIns="0" rtlCol="0" anchor="ctr">
            <a:noAutofit/>
          </a:bodyPr>
          <a:lstStyle/>
          <a:p>
            <a:pPr algn="ctr" defTabSz="914309">
              <a:defRPr/>
            </a:pPr>
            <a:r>
              <a:rPr lang="de-DE" sz="1400" kern="0" err="1">
                <a:solidFill>
                  <a:srgbClr val="000000"/>
                </a:solidFill>
                <a:latin typeface="Arial" panose="020B0604020202020204"/>
              </a:rPr>
              <a:t>Automatic</a:t>
            </a:r>
            <a:r>
              <a:rPr lang="de-DE" sz="1400" kern="0">
                <a:solidFill>
                  <a:srgbClr val="000000"/>
                </a:solidFill>
                <a:latin typeface="Arial" panose="020B0604020202020204"/>
              </a:rPr>
              <a:t> </a:t>
            </a:r>
            <a:r>
              <a:rPr lang="de-DE" sz="1400" kern="0" err="1">
                <a:solidFill>
                  <a:srgbClr val="000000"/>
                </a:solidFill>
                <a:latin typeface="Arial" panose="020B0604020202020204"/>
              </a:rPr>
              <a:t>braking</a:t>
            </a:r>
            <a:endParaRPr lang="de-DE" sz="1400" kern="0">
              <a:solidFill>
                <a:srgbClr val="000000"/>
              </a:solidFill>
              <a:latin typeface="Arial" panose="020B0604020202020204"/>
            </a:endParaRPr>
          </a:p>
        </p:txBody>
      </p:sp>
      <p:grpSp>
        <p:nvGrpSpPr>
          <p:cNvPr id="126" name="Gruppieren 125">
            <a:extLst>
              <a:ext uri="{FF2B5EF4-FFF2-40B4-BE49-F238E27FC236}">
                <a16:creationId xmlns:a16="http://schemas.microsoft.com/office/drawing/2014/main" id="{168CB77E-942D-44F1-9AFF-458FCB29905A}"/>
              </a:ext>
            </a:extLst>
          </p:cNvPr>
          <p:cNvGrpSpPr/>
          <p:nvPr/>
        </p:nvGrpSpPr>
        <p:grpSpPr>
          <a:xfrm>
            <a:off x="6527312" y="3903395"/>
            <a:ext cx="503876" cy="450895"/>
            <a:chOff x="7149548" y="1494508"/>
            <a:chExt cx="503942" cy="450954"/>
          </a:xfrm>
        </p:grpSpPr>
        <p:sp>
          <p:nvSpPr>
            <p:cNvPr id="127" name="Freeform 8">
              <a:extLst>
                <a:ext uri="{FF2B5EF4-FFF2-40B4-BE49-F238E27FC236}">
                  <a16:creationId xmlns:a16="http://schemas.microsoft.com/office/drawing/2014/main" id="{CE7ED9B7-5EE8-455A-AF0F-95599E6BC6AB}"/>
                </a:ext>
              </a:extLst>
            </p:cNvPr>
            <p:cNvSpPr>
              <a:spLocks/>
            </p:cNvSpPr>
            <p:nvPr/>
          </p:nvSpPr>
          <p:spPr bwMode="auto">
            <a:xfrm>
              <a:off x="7168714" y="1510291"/>
              <a:ext cx="468993" cy="410368"/>
            </a:xfrm>
            <a:custGeom>
              <a:avLst/>
              <a:gdLst>
                <a:gd name="T0" fmla="*/ 18 w 155"/>
                <a:gd name="T1" fmla="*/ 134 h 134"/>
                <a:gd name="T2" fmla="*/ 6 w 155"/>
                <a:gd name="T3" fmla="*/ 115 h 134"/>
                <a:gd name="T4" fmla="*/ 66 w 155"/>
                <a:gd name="T5" fmla="*/ 11 h 134"/>
                <a:gd name="T6" fmla="*/ 89 w 155"/>
                <a:gd name="T7" fmla="*/ 11 h 134"/>
                <a:gd name="T8" fmla="*/ 149 w 155"/>
                <a:gd name="T9" fmla="*/ 115 h 134"/>
                <a:gd name="T10" fmla="*/ 137 w 155"/>
                <a:gd name="T11" fmla="*/ 134 h 134"/>
                <a:gd name="T12" fmla="*/ 18 w 155"/>
                <a:gd name="T13" fmla="*/ 134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5" h="134">
                  <a:moveTo>
                    <a:pt x="18" y="134"/>
                  </a:moveTo>
                  <a:cubicBezTo>
                    <a:pt x="5" y="134"/>
                    <a:pt x="0" y="125"/>
                    <a:pt x="6" y="115"/>
                  </a:cubicBezTo>
                  <a:cubicBezTo>
                    <a:pt x="66" y="11"/>
                    <a:pt x="66" y="11"/>
                    <a:pt x="66" y="11"/>
                  </a:cubicBezTo>
                  <a:cubicBezTo>
                    <a:pt x="72" y="0"/>
                    <a:pt x="83" y="0"/>
                    <a:pt x="89" y="11"/>
                  </a:cubicBezTo>
                  <a:cubicBezTo>
                    <a:pt x="149" y="115"/>
                    <a:pt x="149" y="115"/>
                    <a:pt x="149" y="115"/>
                  </a:cubicBezTo>
                  <a:cubicBezTo>
                    <a:pt x="155" y="125"/>
                    <a:pt x="150" y="134"/>
                    <a:pt x="137" y="134"/>
                  </a:cubicBezTo>
                  <a:lnTo>
                    <a:pt x="18" y="13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9" name="Freeform 9">
              <a:extLst>
                <a:ext uri="{FF2B5EF4-FFF2-40B4-BE49-F238E27FC236}">
                  <a16:creationId xmlns:a16="http://schemas.microsoft.com/office/drawing/2014/main" id="{D6077F35-0141-44E1-8DE5-FE8AECD642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49548" y="1494508"/>
              <a:ext cx="503942" cy="450954"/>
            </a:xfrm>
            <a:custGeom>
              <a:avLst/>
              <a:gdLst>
                <a:gd name="T0" fmla="*/ 143 w 166"/>
                <a:gd name="T1" fmla="*/ 147 h 147"/>
                <a:gd name="T2" fmla="*/ 24 w 166"/>
                <a:gd name="T3" fmla="*/ 147 h 147"/>
                <a:gd name="T4" fmla="*/ 4 w 166"/>
                <a:gd name="T5" fmla="*/ 137 h 147"/>
                <a:gd name="T6" fmla="*/ 5 w 166"/>
                <a:gd name="T7" fmla="*/ 116 h 147"/>
                <a:gd name="T8" fmla="*/ 65 w 166"/>
                <a:gd name="T9" fmla="*/ 12 h 147"/>
                <a:gd name="T10" fmla="*/ 83 w 166"/>
                <a:gd name="T11" fmla="*/ 0 h 147"/>
                <a:gd name="T12" fmla="*/ 102 w 166"/>
                <a:gd name="T13" fmla="*/ 12 h 147"/>
                <a:gd name="T14" fmla="*/ 162 w 166"/>
                <a:gd name="T15" fmla="*/ 116 h 147"/>
                <a:gd name="T16" fmla="*/ 163 w 166"/>
                <a:gd name="T17" fmla="*/ 137 h 147"/>
                <a:gd name="T18" fmla="*/ 143 w 166"/>
                <a:gd name="T19" fmla="*/ 147 h 147"/>
                <a:gd name="T20" fmla="*/ 83 w 166"/>
                <a:gd name="T21" fmla="*/ 16 h 147"/>
                <a:gd name="T22" fmla="*/ 79 w 166"/>
                <a:gd name="T23" fmla="*/ 20 h 147"/>
                <a:gd name="T24" fmla="*/ 19 w 166"/>
                <a:gd name="T25" fmla="*/ 124 h 147"/>
                <a:gd name="T26" fmla="*/ 18 w 166"/>
                <a:gd name="T27" fmla="*/ 129 h 147"/>
                <a:gd name="T28" fmla="*/ 24 w 166"/>
                <a:gd name="T29" fmla="*/ 131 h 147"/>
                <a:gd name="T30" fmla="*/ 143 w 166"/>
                <a:gd name="T31" fmla="*/ 131 h 147"/>
                <a:gd name="T32" fmla="*/ 149 w 166"/>
                <a:gd name="T33" fmla="*/ 129 h 147"/>
                <a:gd name="T34" fmla="*/ 148 w 166"/>
                <a:gd name="T35" fmla="*/ 124 h 147"/>
                <a:gd name="T36" fmla="*/ 88 w 166"/>
                <a:gd name="T37" fmla="*/ 20 h 147"/>
                <a:gd name="T38" fmla="*/ 83 w 166"/>
                <a:gd name="T39" fmla="*/ 16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66" h="147">
                  <a:moveTo>
                    <a:pt x="143" y="147"/>
                  </a:moveTo>
                  <a:cubicBezTo>
                    <a:pt x="24" y="147"/>
                    <a:pt x="24" y="147"/>
                    <a:pt x="24" y="147"/>
                  </a:cubicBezTo>
                  <a:cubicBezTo>
                    <a:pt x="15" y="147"/>
                    <a:pt x="8" y="144"/>
                    <a:pt x="4" y="137"/>
                  </a:cubicBezTo>
                  <a:cubicBezTo>
                    <a:pt x="0" y="131"/>
                    <a:pt x="1" y="123"/>
                    <a:pt x="5" y="116"/>
                  </a:cubicBezTo>
                  <a:cubicBezTo>
                    <a:pt x="65" y="12"/>
                    <a:pt x="65" y="12"/>
                    <a:pt x="65" y="12"/>
                  </a:cubicBezTo>
                  <a:cubicBezTo>
                    <a:pt x="70" y="4"/>
                    <a:pt x="76" y="0"/>
                    <a:pt x="83" y="0"/>
                  </a:cubicBezTo>
                  <a:cubicBezTo>
                    <a:pt x="91" y="0"/>
                    <a:pt x="97" y="4"/>
                    <a:pt x="102" y="12"/>
                  </a:cubicBezTo>
                  <a:cubicBezTo>
                    <a:pt x="162" y="116"/>
                    <a:pt x="162" y="116"/>
                    <a:pt x="162" y="116"/>
                  </a:cubicBezTo>
                  <a:cubicBezTo>
                    <a:pt x="166" y="123"/>
                    <a:pt x="166" y="131"/>
                    <a:pt x="163" y="137"/>
                  </a:cubicBezTo>
                  <a:cubicBezTo>
                    <a:pt x="159" y="144"/>
                    <a:pt x="152" y="147"/>
                    <a:pt x="143" y="147"/>
                  </a:cubicBezTo>
                  <a:close/>
                  <a:moveTo>
                    <a:pt x="83" y="16"/>
                  </a:moveTo>
                  <a:cubicBezTo>
                    <a:pt x="82" y="16"/>
                    <a:pt x="81" y="17"/>
                    <a:pt x="79" y="20"/>
                  </a:cubicBezTo>
                  <a:cubicBezTo>
                    <a:pt x="19" y="124"/>
                    <a:pt x="19" y="124"/>
                    <a:pt x="19" y="124"/>
                  </a:cubicBezTo>
                  <a:cubicBezTo>
                    <a:pt x="18" y="126"/>
                    <a:pt x="17" y="129"/>
                    <a:pt x="18" y="129"/>
                  </a:cubicBezTo>
                  <a:cubicBezTo>
                    <a:pt x="18" y="130"/>
                    <a:pt x="20" y="131"/>
                    <a:pt x="24" y="131"/>
                  </a:cubicBezTo>
                  <a:cubicBezTo>
                    <a:pt x="143" y="131"/>
                    <a:pt x="143" y="131"/>
                    <a:pt x="143" y="131"/>
                  </a:cubicBezTo>
                  <a:cubicBezTo>
                    <a:pt x="147" y="131"/>
                    <a:pt x="148" y="130"/>
                    <a:pt x="149" y="129"/>
                  </a:cubicBezTo>
                  <a:cubicBezTo>
                    <a:pt x="150" y="129"/>
                    <a:pt x="149" y="126"/>
                    <a:pt x="148" y="124"/>
                  </a:cubicBezTo>
                  <a:cubicBezTo>
                    <a:pt x="88" y="20"/>
                    <a:pt x="88" y="20"/>
                    <a:pt x="88" y="20"/>
                  </a:cubicBezTo>
                  <a:cubicBezTo>
                    <a:pt x="86" y="17"/>
                    <a:pt x="84" y="16"/>
                    <a:pt x="83" y="16"/>
                  </a:cubicBez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0" name="Freeform 10">
              <a:extLst>
                <a:ext uri="{FF2B5EF4-FFF2-40B4-BE49-F238E27FC236}">
                  <a16:creationId xmlns:a16="http://schemas.microsoft.com/office/drawing/2014/main" id="{8BAA80C8-7BC0-4B43-B9B8-067A159998A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80662" y="1638813"/>
              <a:ext cx="45095" cy="226605"/>
            </a:xfrm>
            <a:custGeom>
              <a:avLst/>
              <a:gdLst>
                <a:gd name="T0" fmla="*/ 8 w 40"/>
                <a:gd name="T1" fmla="*/ 150 h 201"/>
                <a:gd name="T2" fmla="*/ 0 w 40"/>
                <a:gd name="T3" fmla="*/ 46 h 201"/>
                <a:gd name="T4" fmla="*/ 0 w 40"/>
                <a:gd name="T5" fmla="*/ 0 h 201"/>
                <a:gd name="T6" fmla="*/ 40 w 40"/>
                <a:gd name="T7" fmla="*/ 0 h 201"/>
                <a:gd name="T8" fmla="*/ 40 w 40"/>
                <a:gd name="T9" fmla="*/ 46 h 201"/>
                <a:gd name="T10" fmla="*/ 29 w 40"/>
                <a:gd name="T11" fmla="*/ 150 h 201"/>
                <a:gd name="T12" fmla="*/ 8 w 40"/>
                <a:gd name="T13" fmla="*/ 150 h 201"/>
                <a:gd name="T14" fmla="*/ 0 w 40"/>
                <a:gd name="T15" fmla="*/ 201 h 201"/>
                <a:gd name="T16" fmla="*/ 0 w 40"/>
                <a:gd name="T17" fmla="*/ 161 h 201"/>
                <a:gd name="T18" fmla="*/ 40 w 40"/>
                <a:gd name="T19" fmla="*/ 161 h 201"/>
                <a:gd name="T20" fmla="*/ 40 w 40"/>
                <a:gd name="T21" fmla="*/ 201 h 201"/>
                <a:gd name="T22" fmla="*/ 0 w 40"/>
                <a:gd name="T23" fmla="*/ 201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0" h="201">
                  <a:moveTo>
                    <a:pt x="8" y="150"/>
                  </a:moveTo>
                  <a:lnTo>
                    <a:pt x="0" y="46"/>
                  </a:lnTo>
                  <a:lnTo>
                    <a:pt x="0" y="0"/>
                  </a:lnTo>
                  <a:lnTo>
                    <a:pt x="40" y="0"/>
                  </a:lnTo>
                  <a:lnTo>
                    <a:pt x="40" y="46"/>
                  </a:lnTo>
                  <a:lnTo>
                    <a:pt x="29" y="150"/>
                  </a:lnTo>
                  <a:lnTo>
                    <a:pt x="8" y="150"/>
                  </a:lnTo>
                  <a:close/>
                  <a:moveTo>
                    <a:pt x="0" y="201"/>
                  </a:moveTo>
                  <a:lnTo>
                    <a:pt x="0" y="161"/>
                  </a:lnTo>
                  <a:lnTo>
                    <a:pt x="40" y="161"/>
                  </a:lnTo>
                  <a:lnTo>
                    <a:pt x="40" y="201"/>
                  </a:lnTo>
                  <a:lnTo>
                    <a:pt x="0" y="201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149272257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Grafik 29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960"/>
          <a:stretch/>
        </p:blipFill>
        <p:spPr>
          <a:xfrm>
            <a:off x="-1" y="-88717"/>
            <a:ext cx="12190413" cy="6911868"/>
          </a:xfrm>
          <a:prstGeom prst="rect">
            <a:avLst/>
          </a:prstGeom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C94433A6-B6AB-49DD-A04B-DA2B516808D3}"/>
              </a:ext>
            </a:extLst>
          </p:cNvPr>
          <p:cNvSpPr/>
          <p:nvPr/>
        </p:nvSpPr>
        <p:spPr bwMode="auto">
          <a:xfrm>
            <a:off x="-24677" y="-170930"/>
            <a:ext cx="12311765" cy="1255711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50000"/>
                </a:schemeClr>
              </a:gs>
              <a:gs pos="100000">
                <a:schemeClr val="tx1">
                  <a:alpha val="0"/>
                </a:schemeClr>
              </a:gs>
            </a:gsLst>
            <a:lin ang="5400000" scaled="1"/>
            <a:tileRect/>
          </a:gradFill>
          <a:ln>
            <a:noFill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defTabSz="914309" fontAlgn="base">
              <a:spcBef>
                <a:spcPct val="0"/>
              </a:spcBef>
              <a:spcAft>
                <a:spcPct val="40000"/>
              </a:spcAft>
            </a:pPr>
            <a:endParaRPr lang="de-DE">
              <a:latin typeface="Frutiger LT Com 55 Roman" pitchFamily="34" charset="0"/>
            </a:endParaRPr>
          </a:p>
        </p:txBody>
      </p:sp>
      <p:sp>
        <p:nvSpPr>
          <p:cNvPr id="13" name="Titel 1"/>
          <p:cNvSpPr>
            <a:spLocks noGrp="1"/>
          </p:cNvSpPr>
          <p:nvPr>
            <p:ph type="title"/>
          </p:nvPr>
        </p:nvSpPr>
        <p:spPr>
          <a:xfrm>
            <a:off x="407315" y="157990"/>
            <a:ext cx="11021383" cy="1255711"/>
          </a:xfrm>
        </p:spPr>
        <p:txBody>
          <a:bodyPr/>
          <a:lstStyle/>
          <a:p>
            <a:r>
              <a:rPr lang="de-DE">
                <a:solidFill>
                  <a:schemeClr val="bg1"/>
                </a:solidFill>
              </a:rPr>
              <a:t>Project Group B.A.T.M.A.N.</a:t>
            </a:r>
            <a:br>
              <a:rPr lang="de-DE">
                <a:solidFill>
                  <a:schemeClr val="bg1"/>
                </a:solidFill>
              </a:rPr>
            </a:br>
            <a:r>
              <a:rPr lang="de-DE">
                <a:solidFill>
                  <a:schemeClr val="bg1"/>
                </a:solidFill>
              </a:rPr>
              <a:t>Goals</a:t>
            </a:r>
            <a:br>
              <a:rPr lang="de-DE">
                <a:solidFill>
                  <a:schemeClr val="bg1"/>
                </a:solidFill>
              </a:rPr>
            </a:br>
            <a:endParaRPr lang="de-DE">
              <a:solidFill>
                <a:schemeClr val="bg1"/>
              </a:solidFill>
            </a:endParaRPr>
          </a:p>
        </p:txBody>
      </p:sp>
      <p:pic>
        <p:nvPicPr>
          <p:cNvPr id="40" name="Grafik 3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5126" y="5755590"/>
            <a:ext cx="1523142" cy="769351"/>
          </a:xfrm>
          <a:prstGeom prst="rect">
            <a:avLst/>
          </a:prstGeom>
        </p:spPr>
      </p:pic>
      <p:pic>
        <p:nvPicPr>
          <p:cNvPr id="41" name="Picture 6" descr="https://images-na.ssl-images-amazon.com/images/I/71nK%2BJjLzzL._SL1500_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4602" y="5747969"/>
            <a:ext cx="1558099" cy="7769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Grafik 4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244026" y="5747970"/>
            <a:ext cx="1339178" cy="848970"/>
          </a:xfrm>
          <a:prstGeom prst="rect">
            <a:avLst/>
          </a:prstGeom>
        </p:spPr>
      </p:pic>
      <p:pic>
        <p:nvPicPr>
          <p:cNvPr id="43" name="Grafik 4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1209" y="5743682"/>
            <a:ext cx="1633062" cy="853258"/>
          </a:xfrm>
          <a:prstGeom prst="rect">
            <a:avLst/>
          </a:prstGeom>
        </p:spPr>
      </p:pic>
      <p:pic>
        <p:nvPicPr>
          <p:cNvPr id="47" name="Grafik 46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91039" y="661835"/>
            <a:ext cx="783677" cy="248018"/>
          </a:xfrm>
          <a:prstGeom prst="rect">
            <a:avLst/>
          </a:prstGeom>
        </p:spPr>
      </p:pic>
      <p:sp>
        <p:nvSpPr>
          <p:cNvPr id="46" name="Rechteck 45"/>
          <p:cNvSpPr/>
          <p:nvPr/>
        </p:nvSpPr>
        <p:spPr bwMode="auto">
          <a:xfrm>
            <a:off x="668922" y="3387125"/>
            <a:ext cx="10759776" cy="2087960"/>
          </a:xfrm>
          <a:prstGeom prst="rect">
            <a:avLst/>
          </a:prstGeom>
          <a:solidFill>
            <a:schemeClr val="tx1">
              <a:alpha val="82000"/>
            </a:schemeClr>
          </a:solidFill>
          <a:ln>
            <a:solidFill>
              <a:schemeClr val="tx1"/>
            </a:solidFill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defTabSz="914309" fontAlgn="base">
              <a:spcBef>
                <a:spcPct val="0"/>
              </a:spcBef>
              <a:spcAft>
                <a:spcPct val="40000"/>
              </a:spcAft>
            </a:pPr>
            <a:endParaRPr lang="de-DE">
              <a:latin typeface="Frutiger LT Com 55 Roman" pitchFamily="34" charset="0"/>
            </a:endParaRPr>
          </a:p>
        </p:txBody>
      </p:sp>
      <p:sp>
        <p:nvSpPr>
          <p:cNvPr id="6" name="Rechteck 5"/>
          <p:cNvSpPr/>
          <p:nvPr/>
        </p:nvSpPr>
        <p:spPr bwMode="auto">
          <a:xfrm>
            <a:off x="928224" y="3651358"/>
            <a:ext cx="10526861" cy="172796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>
              <a:spcAft>
                <a:spcPts val="600"/>
              </a:spcAft>
            </a:pPr>
            <a:r>
              <a:rPr lang="de-DE"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rtual Reality </a:t>
            </a:r>
            <a:r>
              <a:rPr lang="de-DE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rovement of the engineering experience through virtual reality</a:t>
            </a:r>
          </a:p>
          <a:p>
            <a:pPr>
              <a:spcAft>
                <a:spcPts val="600"/>
              </a:spcAft>
            </a:pPr>
            <a:r>
              <a:rPr lang="de-DE"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tworking</a:t>
            </a:r>
            <a:r>
              <a:rPr lang="de-DE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- 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abling collaborative engineering with simultaneous use of multiple devices</a:t>
            </a:r>
          </a:p>
          <a:p>
            <a:pPr>
              <a:spcAft>
                <a:spcPts val="600"/>
              </a:spcAft>
            </a:pPr>
            <a:r>
              <a:rPr lang="en-AU"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tificial Intelligence </a:t>
            </a:r>
            <a:r>
              <a:rPr lang="de-DE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rovement of engineering efficiency through the usage of AI</a:t>
            </a:r>
            <a:endParaRPr lang="en-AU" sz="16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Aft>
                <a:spcPts val="600"/>
              </a:spcAft>
            </a:pPr>
            <a:r>
              <a:rPr lang="en-AU"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gmented</a:t>
            </a:r>
            <a:r>
              <a:rPr lang="de-DE"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Reality/3D </a:t>
            </a:r>
            <a:r>
              <a:rPr lang="en-AU"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nting</a:t>
            </a:r>
            <a:r>
              <a:rPr lang="de-DE"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rovement of the engineering experience through physical 3D models</a:t>
            </a:r>
            <a:endParaRPr lang="de-DE" sz="16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Aft>
                <a:spcPts val="600"/>
              </a:spcAft>
            </a:pPr>
            <a:r>
              <a:rPr lang="en-AU"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vel Design </a:t>
            </a:r>
            <a:r>
              <a:rPr lang="en-AU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Design of different scenarios related to autonomous driving</a:t>
            </a:r>
            <a:endParaRPr lang="de-DE" sz="16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14309" fontAlgn="base">
              <a:spcBef>
                <a:spcPct val="0"/>
              </a:spcBef>
              <a:spcAft>
                <a:spcPct val="40000"/>
              </a:spcAft>
            </a:pPr>
            <a:endParaRPr lang="en-AU" sz="16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21" indent="-285721" defTabSz="914309" fontAlgn="base">
              <a:spcBef>
                <a:spcPct val="0"/>
              </a:spcBef>
              <a:spcAft>
                <a:spcPct val="40000"/>
              </a:spcAft>
              <a:buFont typeface="Arial" panose="020B0604020202020204" pitchFamily="34" charset="0"/>
              <a:buChar char="•"/>
            </a:pPr>
            <a:endParaRPr lang="en-AU" sz="16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feld 11"/>
          <p:cNvSpPr txBox="1"/>
          <p:nvPr/>
        </p:nvSpPr>
        <p:spPr>
          <a:xfrm>
            <a:off x="696545" y="6355400"/>
            <a:ext cx="1016493" cy="2154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800">
                <a:solidFill>
                  <a:schemeClr val="bg2">
                    <a:lumMod val="75000"/>
                  </a:schemeClr>
                </a:solidFill>
              </a:rPr>
              <a:t>Source: Microsoft</a:t>
            </a:r>
          </a:p>
        </p:txBody>
      </p:sp>
      <p:sp>
        <p:nvSpPr>
          <p:cNvPr id="14" name="Textfeld 13"/>
          <p:cNvSpPr txBox="1"/>
          <p:nvPr/>
        </p:nvSpPr>
        <p:spPr>
          <a:xfrm>
            <a:off x="4223242" y="6344626"/>
            <a:ext cx="1016493" cy="2154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800">
                <a:solidFill>
                  <a:schemeClr val="bg2">
                    <a:lumMod val="75000"/>
                  </a:schemeClr>
                </a:solidFill>
              </a:rPr>
              <a:t>Source: Microsoft</a:t>
            </a:r>
          </a:p>
        </p:txBody>
      </p:sp>
      <p:sp>
        <p:nvSpPr>
          <p:cNvPr id="15" name="Textfeld 14"/>
          <p:cNvSpPr txBox="1"/>
          <p:nvPr/>
        </p:nvSpPr>
        <p:spPr>
          <a:xfrm>
            <a:off x="2409826" y="6331020"/>
            <a:ext cx="1112660" cy="2154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800">
                <a:solidFill>
                  <a:schemeClr val="bg2">
                    <a:lumMod val="75000"/>
                  </a:schemeClr>
                </a:solidFill>
              </a:rPr>
              <a:t>Source: Occulus VR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70985DB2-9D9A-4EAA-9081-09E2DD34C3D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867578" y="5740583"/>
            <a:ext cx="1629973" cy="844016"/>
          </a:xfrm>
          <a:prstGeom prst="rect">
            <a:avLst/>
          </a:prstGeom>
          <a:solidFill>
            <a:srgbClr val="FFFFFF"/>
          </a:solidFill>
        </p:spPr>
      </p:pic>
      <p:pic>
        <p:nvPicPr>
          <p:cNvPr id="2" name="Grafik 1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640573" y="5747969"/>
            <a:ext cx="1341433" cy="845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36098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TOTMkBonGc6gHx9XxmC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cXXfHUQQamQmuq9SRoZA"/>
</p:tagLst>
</file>

<file path=ppt/theme/theme1.xml><?xml version="1.0" encoding="utf-8"?>
<a:theme xmlns:a="http://schemas.openxmlformats.org/drawingml/2006/main" name="FRAUNHOFER">
  <a:themeElements>
    <a:clrScheme name="Fraunhofer">
      <a:dk1>
        <a:srgbClr val="000000"/>
      </a:dk1>
      <a:lt1>
        <a:sysClr val="window" lastClr="FFFFFF"/>
      </a:lt1>
      <a:dk2>
        <a:srgbClr val="003A80"/>
      </a:dk2>
      <a:lt2>
        <a:srgbClr val="FFFFFF"/>
      </a:lt2>
      <a:accent1>
        <a:srgbClr val="179C7D"/>
      </a:accent1>
      <a:accent2>
        <a:srgbClr val="6DBFA9"/>
      </a:accent2>
      <a:accent3>
        <a:srgbClr val="B1C800"/>
      </a:accent3>
      <a:accent4>
        <a:srgbClr val="003A80"/>
      </a:accent4>
      <a:accent5>
        <a:srgbClr val="1F82C0"/>
      </a:accent5>
      <a:accent6>
        <a:srgbClr val="FDC300"/>
      </a:accent6>
      <a:hlink>
        <a:srgbClr val="7F7F7F"/>
      </a:hlink>
      <a:folHlink>
        <a:srgbClr val="7F7F7F"/>
      </a:folHlink>
    </a:clrScheme>
    <a:fontScheme name="Fraunhof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gradFill flip="none" rotWithShape="1">
          <a:gsLst>
            <a:gs pos="50000">
              <a:schemeClr val="accent1"/>
            </a:gs>
            <a:gs pos="95000">
              <a:schemeClr val="accent4">
                <a:lumMod val="75000"/>
              </a:schemeClr>
            </a:gs>
            <a:gs pos="5000">
              <a:schemeClr val="accent1"/>
            </a:gs>
          </a:gsLst>
          <a:path path="circle">
            <a:fillToRect l="100000" b="100000"/>
          </a:path>
          <a:tileRect t="-100000" r="-100000"/>
        </a:gradFill>
        <a:ln>
          <a:noFill/>
        </a:ln>
      </a:spPr>
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1000"/>
          </a:spcAft>
          <a:defRPr sz="140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ap="flat">
          <a:solidFill>
            <a:schemeClr val="bg1">
              <a:lumMod val="75000"/>
            </a:schemeClr>
          </a:solidFill>
          <a:miter lim="800000"/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lIns="0" tIns="0" rIns="0" bIns="0" anchor="t" anchorCtr="0"/>
      <a:lstStyle>
        <a:defPPr marL="0" indent="0" algn="l">
          <a:buNone/>
          <a:defRPr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2_Master_PPT_2012_07_23">
  <a:themeElements>
    <a:clrScheme name="Fraunhofer Farbpalette">
      <a:dk1>
        <a:srgbClr val="000000"/>
      </a:dk1>
      <a:lt1>
        <a:srgbClr val="FFFFFF"/>
      </a:lt1>
      <a:dk2>
        <a:srgbClr val="179C7D"/>
      </a:dk2>
      <a:lt2>
        <a:srgbClr val="A8AFAF"/>
      </a:lt2>
      <a:accent1>
        <a:srgbClr val="EB6A0A"/>
      </a:accent1>
      <a:accent2>
        <a:srgbClr val="006E92"/>
      </a:accent2>
      <a:accent3>
        <a:srgbClr val="25BAE2"/>
      </a:accent3>
      <a:accent4>
        <a:srgbClr val="B1C800"/>
      </a:accent4>
      <a:accent5>
        <a:srgbClr val="FEEFD6"/>
      </a:accent5>
      <a:accent6>
        <a:srgbClr val="E1E3E3"/>
      </a:accent6>
      <a:hlink>
        <a:srgbClr val="25BAE2"/>
      </a:hlink>
      <a:folHlink>
        <a:srgbClr val="B1C8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>
          <a:solidFill>
            <a:schemeClr val="tx1"/>
          </a:solidFill>
        </a:ln>
        <a:effectLst/>
      </a:spPr>
      <a:bodyPr vert="horz" wrap="square" lIns="0" tIns="0" rIns="0" bIns="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40000"/>
          </a:spcAft>
          <a:buClrTx/>
          <a:buSzTx/>
          <a:buFont typeface="Wingdings" pitchFamily="2" charset="2"/>
          <a:buNone/>
          <a:tabLst/>
          <a:defRPr kumimoji="0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Frutiger LT Com 55 Roman" pitchFamily="34" charset="0"/>
          </a:defRPr>
        </a:defPPr>
      </a:lstStyle>
    </a:spDef>
    <a:lnDef>
      <a:spPr bwMode="auto"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</a:objectDefaults>
  <a:extraClrSchemeLst>
    <a:extraClrScheme>
      <a:clrScheme name="Bullet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llet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llet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llet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llet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llet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ullet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ullet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ullet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ullet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ullet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ullet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ullets 13">
        <a:dk1>
          <a:srgbClr val="000000"/>
        </a:dk1>
        <a:lt1>
          <a:srgbClr val="FFFFFF"/>
        </a:lt1>
        <a:dk2>
          <a:srgbClr val="000000"/>
        </a:dk2>
        <a:lt2>
          <a:srgbClr val="A8AFAF"/>
        </a:lt2>
        <a:accent1>
          <a:srgbClr val="009475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AAC8BD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llets 14">
        <a:dk1>
          <a:srgbClr val="000000"/>
        </a:dk1>
        <a:lt1>
          <a:srgbClr val="FFFFFF"/>
        </a:lt1>
        <a:dk2>
          <a:srgbClr val="000000"/>
        </a:dk2>
        <a:lt2>
          <a:srgbClr val="A8AFAF"/>
        </a:lt2>
        <a:accent1>
          <a:srgbClr val="009475"/>
        </a:accent1>
        <a:accent2>
          <a:srgbClr val="009475"/>
        </a:accent2>
        <a:accent3>
          <a:srgbClr val="FFFFFF"/>
        </a:accent3>
        <a:accent4>
          <a:srgbClr val="000000"/>
        </a:accent4>
        <a:accent5>
          <a:srgbClr val="AAC8BD"/>
        </a:accent5>
        <a:accent6>
          <a:srgbClr val="008669"/>
        </a:accent6>
        <a:hlink>
          <a:srgbClr val="009475"/>
        </a:hlink>
        <a:folHlink>
          <a:srgbClr val="00947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llets 15">
        <a:dk1>
          <a:srgbClr val="000000"/>
        </a:dk1>
        <a:lt1>
          <a:srgbClr val="FFFFFF"/>
        </a:lt1>
        <a:dk2>
          <a:srgbClr val="009475"/>
        </a:dk2>
        <a:lt2>
          <a:srgbClr val="A8AFAF"/>
        </a:lt2>
        <a:accent1>
          <a:srgbClr val="25BAE2"/>
        </a:accent1>
        <a:accent2>
          <a:srgbClr val="006E92"/>
        </a:accent2>
        <a:accent3>
          <a:srgbClr val="FFFFFF"/>
        </a:accent3>
        <a:accent4>
          <a:srgbClr val="000000"/>
        </a:accent4>
        <a:accent5>
          <a:srgbClr val="ACD9EE"/>
        </a:accent5>
        <a:accent6>
          <a:srgbClr val="006384"/>
        </a:accent6>
        <a:hlink>
          <a:srgbClr val="4C636F"/>
        </a:hlink>
        <a:folHlink>
          <a:srgbClr val="9E1C2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llets 16">
        <a:dk1>
          <a:srgbClr val="000000"/>
        </a:dk1>
        <a:lt1>
          <a:srgbClr val="FFFFFF"/>
        </a:lt1>
        <a:dk2>
          <a:srgbClr val="009475"/>
        </a:dk2>
        <a:lt2>
          <a:srgbClr val="25BAE2"/>
        </a:lt2>
        <a:accent1>
          <a:srgbClr val="009475"/>
        </a:accent1>
        <a:accent2>
          <a:srgbClr val="006E92"/>
        </a:accent2>
        <a:accent3>
          <a:srgbClr val="FFFFFF"/>
        </a:accent3>
        <a:accent4>
          <a:srgbClr val="000000"/>
        </a:accent4>
        <a:accent5>
          <a:srgbClr val="AAC8BD"/>
        </a:accent5>
        <a:accent6>
          <a:srgbClr val="006384"/>
        </a:accent6>
        <a:hlink>
          <a:srgbClr val="4C636F"/>
        </a:hlink>
        <a:folHlink>
          <a:srgbClr val="9E1C2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ppt template für SCB3_20180814">
  <a:themeElements>
    <a:clrScheme name="SCB Corporate-Farben">
      <a:dk1>
        <a:srgbClr val="000000"/>
      </a:dk1>
      <a:lt1>
        <a:srgbClr val="FFFFFF"/>
      </a:lt1>
      <a:dk2>
        <a:srgbClr val="000000"/>
      </a:dk2>
      <a:lt2>
        <a:srgbClr val="C6C6C6"/>
      </a:lt2>
      <a:accent1>
        <a:srgbClr val="FFFFFF"/>
      </a:accent1>
      <a:accent2>
        <a:srgbClr val="134094"/>
      </a:accent2>
      <a:accent3>
        <a:srgbClr val="E3000F"/>
      </a:accent3>
      <a:accent4>
        <a:srgbClr val="F8AD4B"/>
      </a:accent4>
      <a:accent5>
        <a:srgbClr val="6F6F6F"/>
      </a:accent5>
      <a:accent6>
        <a:srgbClr val="C6C6C6"/>
      </a:accent6>
      <a:hlink>
        <a:srgbClr val="134094"/>
      </a:hlink>
      <a:folHlink>
        <a:srgbClr val="829FD3"/>
      </a:folHlink>
    </a:clrScheme>
    <a:fontScheme name="Office Klassisch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numCol="1" spcCol="255600" rtlCol="0">
        <a:noAutofit/>
      </a:bodyPr>
      <a:lstStyle>
        <a:defPPr>
          <a:defRPr sz="1400" dirty="0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E7E293C6-2451-4D3D-9CE0-9642187414B8}" vid="{535B02AE-6701-45E0-A1D1-38DA956F770D}"/>
    </a:ext>
  </a:extLst>
</a:theme>
</file>

<file path=ppt/theme/theme4.xml><?xml version="1.0" encoding="utf-8"?>
<a:theme xmlns:a="http://schemas.openxmlformats.org/drawingml/2006/main" name="3_Master_PPT_2012_07_23">
  <a:themeElements>
    <a:clrScheme name="Fraunhofer Farbpalette">
      <a:dk1>
        <a:srgbClr val="000000"/>
      </a:dk1>
      <a:lt1>
        <a:srgbClr val="FFFFFF"/>
      </a:lt1>
      <a:dk2>
        <a:srgbClr val="179C7D"/>
      </a:dk2>
      <a:lt2>
        <a:srgbClr val="A8AFAF"/>
      </a:lt2>
      <a:accent1>
        <a:srgbClr val="EB6A0A"/>
      </a:accent1>
      <a:accent2>
        <a:srgbClr val="006E92"/>
      </a:accent2>
      <a:accent3>
        <a:srgbClr val="25BAE2"/>
      </a:accent3>
      <a:accent4>
        <a:srgbClr val="B1C800"/>
      </a:accent4>
      <a:accent5>
        <a:srgbClr val="FEEFD6"/>
      </a:accent5>
      <a:accent6>
        <a:srgbClr val="E1E3E3"/>
      </a:accent6>
      <a:hlink>
        <a:srgbClr val="25BAE2"/>
      </a:hlink>
      <a:folHlink>
        <a:srgbClr val="B1C8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>
          <a:solidFill>
            <a:schemeClr val="tx1"/>
          </a:solidFill>
        </a:ln>
        <a:effectLst/>
      </a:spPr>
      <a:bodyPr vert="horz" wrap="square" lIns="0" tIns="0" rIns="0" bIns="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40000"/>
          </a:spcAft>
          <a:buClrTx/>
          <a:buSzTx/>
          <a:buFont typeface="Wingdings" pitchFamily="2" charset="2"/>
          <a:buNone/>
          <a:tabLst/>
          <a:defRPr kumimoji="0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Frutiger LT Com 55 Roman" pitchFamily="34" charset="0"/>
          </a:defRPr>
        </a:defPPr>
      </a:lstStyle>
    </a:spDef>
    <a:lnDef>
      <a:spPr bwMode="auto"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</a:objectDefaults>
  <a:extraClrSchemeLst>
    <a:extraClrScheme>
      <a:clrScheme name="Bullet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llet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llet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llet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llet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llet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ullet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ullet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ullet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ullet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ullet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ullet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ullets 13">
        <a:dk1>
          <a:srgbClr val="000000"/>
        </a:dk1>
        <a:lt1>
          <a:srgbClr val="FFFFFF"/>
        </a:lt1>
        <a:dk2>
          <a:srgbClr val="000000"/>
        </a:dk2>
        <a:lt2>
          <a:srgbClr val="A8AFAF"/>
        </a:lt2>
        <a:accent1>
          <a:srgbClr val="009475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AAC8BD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llets 14">
        <a:dk1>
          <a:srgbClr val="000000"/>
        </a:dk1>
        <a:lt1>
          <a:srgbClr val="FFFFFF"/>
        </a:lt1>
        <a:dk2>
          <a:srgbClr val="000000"/>
        </a:dk2>
        <a:lt2>
          <a:srgbClr val="A8AFAF"/>
        </a:lt2>
        <a:accent1>
          <a:srgbClr val="009475"/>
        </a:accent1>
        <a:accent2>
          <a:srgbClr val="009475"/>
        </a:accent2>
        <a:accent3>
          <a:srgbClr val="FFFFFF"/>
        </a:accent3>
        <a:accent4>
          <a:srgbClr val="000000"/>
        </a:accent4>
        <a:accent5>
          <a:srgbClr val="AAC8BD"/>
        </a:accent5>
        <a:accent6>
          <a:srgbClr val="008669"/>
        </a:accent6>
        <a:hlink>
          <a:srgbClr val="009475"/>
        </a:hlink>
        <a:folHlink>
          <a:srgbClr val="00947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llets 15">
        <a:dk1>
          <a:srgbClr val="000000"/>
        </a:dk1>
        <a:lt1>
          <a:srgbClr val="FFFFFF"/>
        </a:lt1>
        <a:dk2>
          <a:srgbClr val="009475"/>
        </a:dk2>
        <a:lt2>
          <a:srgbClr val="A8AFAF"/>
        </a:lt2>
        <a:accent1>
          <a:srgbClr val="25BAE2"/>
        </a:accent1>
        <a:accent2>
          <a:srgbClr val="006E92"/>
        </a:accent2>
        <a:accent3>
          <a:srgbClr val="FFFFFF"/>
        </a:accent3>
        <a:accent4>
          <a:srgbClr val="000000"/>
        </a:accent4>
        <a:accent5>
          <a:srgbClr val="ACD9EE"/>
        </a:accent5>
        <a:accent6>
          <a:srgbClr val="006384"/>
        </a:accent6>
        <a:hlink>
          <a:srgbClr val="4C636F"/>
        </a:hlink>
        <a:folHlink>
          <a:srgbClr val="9E1C2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llets 16">
        <a:dk1>
          <a:srgbClr val="000000"/>
        </a:dk1>
        <a:lt1>
          <a:srgbClr val="FFFFFF"/>
        </a:lt1>
        <a:dk2>
          <a:srgbClr val="009475"/>
        </a:dk2>
        <a:lt2>
          <a:srgbClr val="25BAE2"/>
        </a:lt2>
        <a:accent1>
          <a:srgbClr val="009475"/>
        </a:accent1>
        <a:accent2>
          <a:srgbClr val="006E92"/>
        </a:accent2>
        <a:accent3>
          <a:srgbClr val="FFFFFF"/>
        </a:accent3>
        <a:accent4>
          <a:srgbClr val="000000"/>
        </a:accent4>
        <a:accent5>
          <a:srgbClr val="AAC8BD"/>
        </a:accent5>
        <a:accent6>
          <a:srgbClr val="006384"/>
        </a:accent6>
        <a:hlink>
          <a:srgbClr val="4C636F"/>
        </a:hlink>
        <a:folHlink>
          <a:srgbClr val="9E1C2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1_FRAUNHOFER">
  <a:themeElements>
    <a:clrScheme name="Fraunhofer">
      <a:dk1>
        <a:srgbClr val="000000"/>
      </a:dk1>
      <a:lt1>
        <a:sysClr val="window" lastClr="FFFFFF"/>
      </a:lt1>
      <a:dk2>
        <a:srgbClr val="003A80"/>
      </a:dk2>
      <a:lt2>
        <a:srgbClr val="FFFFFF"/>
      </a:lt2>
      <a:accent1>
        <a:srgbClr val="179C7D"/>
      </a:accent1>
      <a:accent2>
        <a:srgbClr val="6DBFA9"/>
      </a:accent2>
      <a:accent3>
        <a:srgbClr val="B1C800"/>
      </a:accent3>
      <a:accent4>
        <a:srgbClr val="003A80"/>
      </a:accent4>
      <a:accent5>
        <a:srgbClr val="1F82C0"/>
      </a:accent5>
      <a:accent6>
        <a:srgbClr val="FDC300"/>
      </a:accent6>
      <a:hlink>
        <a:srgbClr val="7F7F7F"/>
      </a:hlink>
      <a:folHlink>
        <a:srgbClr val="7F7F7F"/>
      </a:folHlink>
    </a:clrScheme>
    <a:fontScheme name="Fraunhof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gradFill flip="none" rotWithShape="1">
          <a:gsLst>
            <a:gs pos="80000">
              <a:schemeClr val="accent1"/>
            </a:gs>
            <a:gs pos="5000">
              <a:schemeClr val="tx2"/>
            </a:gs>
          </a:gsLst>
          <a:lin ang="2400000" scaled="0"/>
          <a:tileRect/>
        </a:gradFill>
        <a:ln>
          <a:noFill/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lnSpc>
            <a:spcPct val="90000"/>
          </a:lnSpc>
          <a:spcBef>
            <a:spcPct val="0"/>
          </a:spcBef>
          <a:spcAft>
            <a:spcPts val="1000"/>
          </a:spcAft>
          <a:defRPr sz="1600" b="1" dirty="0" err="1"/>
        </a:defPPr>
      </a:lstStyle>
    </a:spDef>
    <a:lnDef>
      <a:spPr>
        <a:ln w="12700" cap="flat">
          <a:solidFill>
            <a:schemeClr val="bg1">
              <a:lumMod val="75000"/>
            </a:schemeClr>
          </a:solidFill>
          <a:miter lim="800000"/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lIns="0" tIns="0" rIns="0" bIns="0" anchor="t" anchorCtr="0"/>
      <a:lstStyle>
        <a:defPPr marL="0" indent="0" algn="l">
          <a:buNone/>
          <a:defRPr dirty="0" smtClean="0"/>
        </a:defPPr>
      </a:lstStyle>
    </a:txDef>
  </a:objectDefaults>
  <a:extraClrSchemeLst/>
</a:theme>
</file>

<file path=ppt/theme/theme6.xml><?xml version="1.0" encoding="utf-8"?>
<a:theme xmlns:a="http://schemas.openxmlformats.org/drawingml/2006/main" name="1_Default Theme">
  <a:themeElements>
    <a:clrScheme name="Fraunhofer Farbpalette">
      <a:dk1>
        <a:srgbClr val="000000"/>
      </a:dk1>
      <a:lt1>
        <a:srgbClr val="FFFFFF"/>
      </a:lt1>
      <a:dk2>
        <a:srgbClr val="179C7D"/>
      </a:dk2>
      <a:lt2>
        <a:srgbClr val="A8AFAF"/>
      </a:lt2>
      <a:accent1>
        <a:srgbClr val="EB6A0A"/>
      </a:accent1>
      <a:accent2>
        <a:srgbClr val="006E92"/>
      </a:accent2>
      <a:accent3>
        <a:srgbClr val="25BAE2"/>
      </a:accent3>
      <a:accent4>
        <a:srgbClr val="B1C800"/>
      </a:accent4>
      <a:accent5>
        <a:srgbClr val="FEEFD6"/>
      </a:accent5>
      <a:accent6>
        <a:srgbClr val="E1E3E3"/>
      </a:accent6>
      <a:hlink>
        <a:srgbClr val="25BAE2"/>
      </a:hlink>
      <a:folHlink>
        <a:srgbClr val="B1C800"/>
      </a:folHlink>
    </a:clrScheme>
    <a:fontScheme name="Bullets">
      <a:majorFont>
        <a:latin typeface="Frutiger LT Com 45 Light"/>
        <a:ea typeface=""/>
        <a:cs typeface=""/>
      </a:majorFont>
      <a:minorFont>
        <a:latin typeface="Frutiger LT Com 55 Roman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>
          <a:solidFill>
            <a:schemeClr val="tx1"/>
          </a:solidFill>
        </a:ln>
        <a:effectLst/>
      </a:spPr>
      <a:bodyPr vert="horz" wrap="square" lIns="0" tIns="0" rIns="0" bIns="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40000"/>
          </a:spcAft>
          <a:buClrTx/>
          <a:buSzTx/>
          <a:buFont typeface="Wingdings" pitchFamily="2" charset="2"/>
          <a:buNone/>
          <a:tabLst/>
          <a:defRPr kumimoji="0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Frutiger LT Com 55 Roman" pitchFamily="34" charset="0"/>
          </a:defRPr>
        </a:defPPr>
      </a:lstStyle>
    </a:spDef>
    <a:lnDef>
      <a:spPr bwMode="auto"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</a:objectDefaults>
  <a:extraClrSchemeLst>
    <a:extraClrScheme>
      <a:clrScheme name="Bullet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llet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llet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llet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llet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llet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ullet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ullet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ullet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ullet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ullet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ullet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ullets 13">
        <a:dk1>
          <a:srgbClr val="000000"/>
        </a:dk1>
        <a:lt1>
          <a:srgbClr val="FFFFFF"/>
        </a:lt1>
        <a:dk2>
          <a:srgbClr val="000000"/>
        </a:dk2>
        <a:lt2>
          <a:srgbClr val="A8AFAF"/>
        </a:lt2>
        <a:accent1>
          <a:srgbClr val="009475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AAC8BD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llets 14">
        <a:dk1>
          <a:srgbClr val="000000"/>
        </a:dk1>
        <a:lt1>
          <a:srgbClr val="FFFFFF"/>
        </a:lt1>
        <a:dk2>
          <a:srgbClr val="000000"/>
        </a:dk2>
        <a:lt2>
          <a:srgbClr val="A8AFAF"/>
        </a:lt2>
        <a:accent1>
          <a:srgbClr val="009475"/>
        </a:accent1>
        <a:accent2>
          <a:srgbClr val="009475"/>
        </a:accent2>
        <a:accent3>
          <a:srgbClr val="FFFFFF"/>
        </a:accent3>
        <a:accent4>
          <a:srgbClr val="000000"/>
        </a:accent4>
        <a:accent5>
          <a:srgbClr val="AAC8BD"/>
        </a:accent5>
        <a:accent6>
          <a:srgbClr val="008669"/>
        </a:accent6>
        <a:hlink>
          <a:srgbClr val="009475"/>
        </a:hlink>
        <a:folHlink>
          <a:srgbClr val="00947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llets 15">
        <a:dk1>
          <a:srgbClr val="000000"/>
        </a:dk1>
        <a:lt1>
          <a:srgbClr val="FFFFFF"/>
        </a:lt1>
        <a:dk2>
          <a:srgbClr val="009475"/>
        </a:dk2>
        <a:lt2>
          <a:srgbClr val="A8AFAF"/>
        </a:lt2>
        <a:accent1>
          <a:srgbClr val="25BAE2"/>
        </a:accent1>
        <a:accent2>
          <a:srgbClr val="006E92"/>
        </a:accent2>
        <a:accent3>
          <a:srgbClr val="FFFFFF"/>
        </a:accent3>
        <a:accent4>
          <a:srgbClr val="000000"/>
        </a:accent4>
        <a:accent5>
          <a:srgbClr val="ACD9EE"/>
        </a:accent5>
        <a:accent6>
          <a:srgbClr val="006384"/>
        </a:accent6>
        <a:hlink>
          <a:srgbClr val="4C636F"/>
        </a:hlink>
        <a:folHlink>
          <a:srgbClr val="9E1C2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llets 16">
        <a:dk1>
          <a:srgbClr val="000000"/>
        </a:dk1>
        <a:lt1>
          <a:srgbClr val="FFFFFF"/>
        </a:lt1>
        <a:dk2>
          <a:srgbClr val="009475"/>
        </a:dk2>
        <a:lt2>
          <a:srgbClr val="25BAE2"/>
        </a:lt2>
        <a:accent1>
          <a:srgbClr val="009475"/>
        </a:accent1>
        <a:accent2>
          <a:srgbClr val="006E92"/>
        </a:accent2>
        <a:accent3>
          <a:srgbClr val="FFFFFF"/>
        </a:accent3>
        <a:accent4>
          <a:srgbClr val="000000"/>
        </a:accent4>
        <a:accent5>
          <a:srgbClr val="AAC8BD"/>
        </a:accent5>
        <a:accent6>
          <a:srgbClr val="006384"/>
        </a:accent6>
        <a:hlink>
          <a:srgbClr val="4C636F"/>
        </a:hlink>
        <a:folHlink>
          <a:srgbClr val="9E1C2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FhG Grün 1">
      <a:srgbClr val="B4DCD3"/>
    </a:custClr>
    <a:custClr name="FhG Grün 2">
      <a:srgbClr val="6DBFA9"/>
    </a:custClr>
    <a:custClr name="FhG Grün 3">
      <a:srgbClr val="179C7D"/>
    </a:custClr>
    <a:custClr name="FhG Blau 1">
      <a:srgbClr val="D4E6F4"/>
    </a:custClr>
    <a:custClr name="FhG Blau 2">
      <a:srgbClr val="88BCE2"/>
    </a:custClr>
    <a:custClr name="FhG Blau 3">
      <a:srgbClr val="2282C0"/>
    </a:custClr>
    <a:custClr name="FhG Blau 4">
      <a:srgbClr val="005A94"/>
    </a:custClr>
    <a:custClr name="FhG Blau 5">
      <a:srgbClr val="00346B"/>
    </a:custClr>
    <a:custClr name="FhG Lila 1">
      <a:srgbClr val="C7C1DE"/>
    </a:custClr>
    <a:custClr name="FhG Lila 2">
      <a:srgbClr val="9085BA"/>
    </a:custClr>
    <a:custClr name="FhG Lila 3">
      <a:srgbClr val="39378B"/>
    </a:custClr>
    <a:custClr name="FhG Lila 4">
      <a:srgbClr val="29286A"/>
    </a:custClr>
    <a:custClr name="FhG Rot 3">
      <a:srgbClr val="D20019"/>
    </a:custClr>
    <a:custClr name="FhG Rot 4">
      <a:srgbClr val="9E1C22"/>
    </a:custClr>
    <a:custClr name="FhG Rot 5">
      <a:srgbClr val="771C2C"/>
    </a:custClr>
    <a:custClr name="FhG Orange 1">
      <a:srgbClr val="FEFAD1"/>
    </a:custClr>
    <a:custClr name="FhG Orange 2">
      <a:srgbClr val="FBCB8C"/>
    </a:custClr>
    <a:custClr name="FhG Orange 3">
      <a:srgbClr val="F29400"/>
    </a:custClr>
    <a:custClr name="FhG Orange 4">
      <a:srgbClr val="EB6900"/>
    </a:custClr>
    <a:custClr name="FhG Gelb 1">
      <a:srgbClr val="FFFAD1"/>
    </a:custClr>
    <a:custClr name="FhG Gelb 2">
      <a:srgbClr val="FFF381"/>
    </a:custClr>
    <a:custClr name="FhG Gelb 3">
      <a:srgbClr val="FFDD00"/>
    </a:custClr>
    <a:custClr name="FhG Gelb 4">
      <a:srgbClr val="FDC400"/>
    </a:custClr>
    <a:custClr name="FhG Dunkelgrün 1">
      <a:srgbClr val="EEEFB1"/>
    </a:custClr>
    <a:custClr name="FhG Dunkelgrün 2">
      <a:srgbClr val="D1DD82"/>
    </a:custClr>
    <a:custClr name="FhG Dunkelgrün 3">
      <a:srgbClr val="B1C903"/>
    </a:custClr>
    <a:custClr name="FhG Dunkelgrün 4">
      <a:srgbClr val="8FA402"/>
    </a:custClr>
    <a:custClr name="FhG Dunkelgrün 5">
      <a:srgbClr val="6A7341"/>
    </a:custClr>
    <a:custClr name="HNI Hausfarbe Blau">
      <a:srgbClr val="003A80"/>
    </a:custClr>
    <a:custClr name="HNI Kombinationsfarbe Hellblau">
      <a:srgbClr val="90C4E7"/>
    </a:custClr>
    <a:custClr name="HNI Kombinationsfarbe Grau">
      <a:srgbClr val="D0D1D3"/>
    </a:custClr>
    <a:custClr name="HNI Blau 1">
      <a:srgbClr val="3391CA"/>
    </a:custClr>
    <a:custClr name="HNI Blau 2">
      <a:srgbClr val="67AED9"/>
    </a:custClr>
    <a:custClr name="HNI Blau 3">
      <a:srgbClr val="9ACBE8"/>
    </a:custClr>
    <a:custClr name="HNI Blau 4">
      <a:srgbClr val="CEE8F7"/>
    </a:custClr>
    <a:custClr name="HNI Lila 1">
      <a:srgbClr val="8777AF"/>
    </a:custClr>
    <a:custClr name="HNI Lila 2">
      <a:srgbClr val="A598C3"/>
    </a:custClr>
    <a:custClr name="HNI Lila 3">
      <a:srgbClr val="C2B9D7"/>
    </a:custClr>
    <a:custClr name="HNI Lila 4">
      <a:srgbClr val="E0DAEB"/>
    </a:custClr>
    <a:custClr name="HNI Grün 1">
      <a:srgbClr val="78B458"/>
    </a:custClr>
    <a:custClr name="HNI Grün 2">
      <a:srgbClr val="98C57C"/>
    </a:custClr>
    <a:custClr name="HNI Grün 3">
      <a:srgbClr val="B7D6A0"/>
    </a:custClr>
    <a:custClr name="HNI Grün 4">
      <a:srgbClr val="D9E8C5"/>
    </a:custClr>
    <a:custClr name="HNI Orange 1">
      <a:srgbClr val="F6AE3C"/>
    </a:custClr>
    <a:custClr name="HNI Orange 2">
      <a:srgbClr val="FCD487"/>
    </a:custClr>
    <a:custClr name="HNI Orange 3">
      <a:srgbClr val="FCD487"/>
    </a:custClr>
    <a:custClr name="HNI Orange 4">
      <a:srgbClr val="FFE7AD"/>
    </a:custClr>
    <a:custClr name="HNI Gelb 1">
      <a:srgbClr val="FFDD00"/>
    </a:custClr>
    <a:custClr name="HNI Rot 1">
      <a:srgbClr val="DB4848"/>
    </a:custClr>
    <a:custClr name="HNI Petrol 1">
      <a:srgbClr val="34A29E"/>
    </a:custClr>
  </a:custClrLst>
  <a:extLst>
    <a:ext uri="{05A4C25C-085E-4340-85A3-A5531E510DB2}">
      <thm15:themeFamily xmlns:thm15="http://schemas.microsoft.com/office/thememl/2012/main" name="Default Theme" id="{86AF1FF9-B753-4BC4-B978-A44842D6A764}" vid="{3D259D73-F326-457B-9A5C-02F7F15DB488}"/>
    </a:ext>
  </a:extLst>
</a:theme>
</file>

<file path=ppt/theme/theme7.xml><?xml version="1.0" encoding="utf-8"?>
<a:theme xmlns:a="http://schemas.openxmlformats.org/drawingml/2006/main" name="Larissa">
  <a:themeElements>
    <a:clrScheme name="PresentationLoad">
      <a:dk1>
        <a:sysClr val="windowText" lastClr="000000"/>
      </a:dk1>
      <a:lt1>
        <a:sysClr val="window" lastClr="FFFFFF"/>
      </a:lt1>
      <a:dk2>
        <a:srgbClr val="2C3E50"/>
      </a:dk2>
      <a:lt2>
        <a:srgbClr val="FFFFFF"/>
      </a:lt2>
      <a:accent1>
        <a:srgbClr val="3498DB"/>
      </a:accent1>
      <a:accent2>
        <a:srgbClr val="C8303F"/>
      </a:accent2>
      <a:accent3>
        <a:srgbClr val="9BBB59"/>
      </a:accent3>
      <a:accent4>
        <a:srgbClr val="FFC000"/>
      </a:accent4>
      <a:accent5>
        <a:srgbClr val="814993"/>
      </a:accent5>
      <a:accent6>
        <a:srgbClr val="45B1CB"/>
      </a:accent6>
      <a:hlink>
        <a:srgbClr val="7F7F7F"/>
      </a:hlink>
      <a:folHlink>
        <a:srgbClr val="7F7F7F"/>
      </a:folHlink>
    </a:clrScheme>
    <a:fontScheme name="PL Styleguide">
      <a:majorFont>
        <a:latin typeface="Calibri"/>
        <a:ea typeface=""/>
        <a:cs typeface=""/>
      </a:majorFont>
      <a:minorFont>
        <a:latin typeface="Calibri Light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Office Theme">
  <a:themeElements>
    <a:clrScheme name="PresentationLoad">
      <a:dk1>
        <a:sysClr val="windowText" lastClr="000000"/>
      </a:dk1>
      <a:lt1>
        <a:sysClr val="window" lastClr="FFFFFF"/>
      </a:lt1>
      <a:dk2>
        <a:srgbClr val="2C3E50"/>
      </a:dk2>
      <a:lt2>
        <a:srgbClr val="FFFFFF"/>
      </a:lt2>
      <a:accent1>
        <a:srgbClr val="3498DB"/>
      </a:accent1>
      <a:accent2>
        <a:srgbClr val="C8303F"/>
      </a:accent2>
      <a:accent3>
        <a:srgbClr val="9BBB59"/>
      </a:accent3>
      <a:accent4>
        <a:srgbClr val="FFC000"/>
      </a:accent4>
      <a:accent5>
        <a:srgbClr val="814993"/>
      </a:accent5>
      <a:accent6>
        <a:srgbClr val="45B1CB"/>
      </a:accent6>
      <a:hlink>
        <a:srgbClr val="7F7F7F"/>
      </a:hlink>
      <a:folHlink>
        <a:srgbClr val="7F7F7F"/>
      </a:folHlink>
    </a:clrScheme>
    <a:fontScheme name="PL Styleguide">
      <a:majorFont>
        <a:latin typeface="Calibri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SCB Corporate-Farben">
    <a:dk1>
      <a:srgbClr val="000000"/>
    </a:dk1>
    <a:lt1>
      <a:srgbClr val="FFFFFF"/>
    </a:lt1>
    <a:dk2>
      <a:srgbClr val="000000"/>
    </a:dk2>
    <a:lt2>
      <a:srgbClr val="C6C6C6"/>
    </a:lt2>
    <a:accent1>
      <a:srgbClr val="FFFFFF"/>
    </a:accent1>
    <a:accent2>
      <a:srgbClr val="134094"/>
    </a:accent2>
    <a:accent3>
      <a:srgbClr val="E3000F"/>
    </a:accent3>
    <a:accent4>
      <a:srgbClr val="F8AD4B"/>
    </a:accent4>
    <a:accent5>
      <a:srgbClr val="6F6F6F"/>
    </a:accent5>
    <a:accent6>
      <a:srgbClr val="C6C6C6"/>
    </a:accent6>
    <a:hlink>
      <a:srgbClr val="134094"/>
    </a:hlink>
    <a:folHlink>
      <a:srgbClr val="829FD3"/>
    </a:folHlink>
  </a:clrScheme>
  <a:fontScheme name="Office Klassisch 2">
    <a:majorFont>
      <a:latin typeface="Arial"/>
      <a:ea typeface=""/>
      <a:cs typeface=""/>
      <a:font script="Jpan" typeface="ＭＳ Ｐゴシック"/>
      <a:font script="Hang" typeface="돋움"/>
      <a:font script="Hans" typeface="华文新魏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/>
      <a:ea typeface=""/>
      <a:cs typeface=""/>
      <a:font script="Jpan" typeface="ＭＳ Ｐゴシック"/>
      <a:font script="Hang" typeface="돋움"/>
      <a:font script="Hans" typeface="华文新魏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Quintiq">
    <a:dk1>
      <a:srgbClr val="4D4D4F"/>
    </a:dk1>
    <a:lt1>
      <a:sysClr val="window" lastClr="FFFFFF"/>
    </a:lt1>
    <a:dk2>
      <a:srgbClr val="4D80BE"/>
    </a:dk2>
    <a:lt2>
      <a:srgbClr val="CBD2D8"/>
    </a:lt2>
    <a:accent1>
      <a:srgbClr val="4D80BE"/>
    </a:accent1>
    <a:accent2>
      <a:srgbClr val="FFA300"/>
    </a:accent2>
    <a:accent3>
      <a:srgbClr val="A3C939"/>
    </a:accent3>
    <a:accent4>
      <a:srgbClr val="24265E"/>
    </a:accent4>
    <a:accent5>
      <a:srgbClr val="929699"/>
    </a:accent5>
    <a:accent6>
      <a:srgbClr val="4D4D4F"/>
    </a:accent6>
    <a:hlink>
      <a:srgbClr val="24265E"/>
    </a:hlink>
    <a:folHlink>
      <a:srgbClr val="8064A2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F9D3529C1B5FBC4CAE92E02610491BAB" ma:contentTypeVersion="0" ma:contentTypeDescription="Ein neues Dokument erstellen." ma:contentTypeScope="" ma:versionID="02187cf115be73af9b802c8ca83e0c10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0627edd4f09c1f414843cf0643fb7ba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0E1F0EB-2FE6-41CA-9358-B34E86972B60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1D0FAE05-FB96-4E97-A27B-BFCF319A79C2}">
  <ds:schemaRefs>
    <ds:schemaRef ds:uri="http://purl.org/dc/elements/1.1/"/>
    <ds:schemaRef ds:uri="http://purl.org/dc/terms/"/>
    <ds:schemaRef ds:uri="http://schemas.microsoft.com/internal/obd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451FFDC9-F407-4596-A6BF-E6BE449B833F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Application>Microsoft Office PowerPoint</Application>
  <PresentationFormat>Custom</PresentationFormat>
  <Slides>24</Slides>
  <Notes>15</Notes>
  <HiddenSlides>0</HiddenSlides>
  <ScaleCrop>false</ScaleCrop>
  <HeadingPairs>
    <vt:vector size="4" baseType="variant">
      <vt:variant>
        <vt:lpstr>Theme</vt:lpstr>
      </vt:variant>
      <vt:variant>
        <vt:i4>6</vt:i4>
      </vt:variant>
      <vt:variant>
        <vt:lpstr>Slide Titles</vt:lpstr>
      </vt:variant>
      <vt:variant>
        <vt:i4>24</vt:i4>
      </vt:variant>
    </vt:vector>
  </HeadingPairs>
  <TitlesOfParts>
    <vt:vector size="30" baseType="lpstr">
      <vt:lpstr>FRAUNHOFER</vt:lpstr>
      <vt:lpstr>2_Master_PPT_2012_07_23</vt:lpstr>
      <vt:lpstr>ppt template für SCB3_20180814</vt:lpstr>
      <vt:lpstr>3_Master_PPT_2012_07_23</vt:lpstr>
      <vt:lpstr>1_FRAUNHOFER</vt:lpstr>
      <vt:lpstr>1_Default Theme</vt:lpstr>
      <vt:lpstr>PowerPoint Presentation</vt:lpstr>
      <vt:lpstr>Kick-Off</vt:lpstr>
      <vt:lpstr>PowerPoint Presentation</vt:lpstr>
      <vt:lpstr>Fraunhofer IEM Fields of expertise</vt:lpstr>
      <vt:lpstr>PowerPoint Presentation</vt:lpstr>
      <vt:lpstr>Vision Advanced Digital Engineering</vt:lpstr>
      <vt:lpstr>Advanced Digital Engineering First Results</vt:lpstr>
      <vt:lpstr>Advanced Digital Engineering First Results</vt:lpstr>
      <vt:lpstr>Project Group B.A.T.M.A.N. Goals </vt:lpstr>
      <vt:lpstr>Kick-Off Introduction of participants</vt:lpstr>
      <vt:lpstr>B.A.T.M.A.N.</vt:lpstr>
      <vt:lpstr>B.A.T.M.A.N.</vt:lpstr>
      <vt:lpstr>Topics</vt:lpstr>
      <vt:lpstr>Kick-Off Topic: Unity - 3D Scenario reference library</vt:lpstr>
      <vt:lpstr>Kick-Off Topic: Unity - 3D Scenario viewer</vt:lpstr>
      <vt:lpstr>Kick-Off Topic: Unity - 3D environment editor</vt:lpstr>
      <vt:lpstr>Kick-Off Topic: Unity - Automatic 3D scenario generation</vt:lpstr>
      <vt:lpstr>Kick-Off Topic: A.I. – Data Base, Model and Exchange</vt:lpstr>
      <vt:lpstr>Kick-Off Topic: A.I. – Concept and Architecture of NLP Pipeline</vt:lpstr>
      <vt:lpstr>Kick-Off Topic: A.I. – Training and Inferencing</vt:lpstr>
      <vt:lpstr>Kick-Off Topic: A.I. – Optimization and Extension</vt:lpstr>
      <vt:lpstr>Next Steps (Organisation)</vt:lpstr>
      <vt:lpstr>Next Steps (Organisation)</vt:lpstr>
      <vt:lpstr>Next Steps (Organisation)</vt:lpstr>
    </vt:vector>
  </TitlesOfParts>
  <Company>PresentationLoad GmbH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raunhofer PPT Template 16:9, DE</dc:title>
  <dc:creator>PresentationLoad</dc:creator>
  <dc:description>www.presentationload.com</dc:description>
  <cp:revision>3</cp:revision>
  <dcterms:created xsi:type="dcterms:W3CDTF">2015-11-26T10:37:47Z</dcterms:created>
  <dcterms:modified xsi:type="dcterms:W3CDTF">2020-04-22T21:30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9D3529C1B5FBC4CAE92E02610491BAB</vt:lpwstr>
  </property>
</Properties>
</file>